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0.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1.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2.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3.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4.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5.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6.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7.xml" ContentType="application/vnd.openxmlformats-officedocument.theme+xml"/>
  <Override PartName="/ppt/tags/tag7.xml" ContentType="application/vnd.openxmlformats-officedocument.presentationml.tags+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18.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19.xml" ContentType="application/vnd.openxmlformats-officedocument.theme+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theme/theme20.xml" ContentType="application/vnd.openxmlformats-officedocument.theme+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theme/theme21.xml" ContentType="application/vnd.openxmlformats-officedocument.theme+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22.xml" ContentType="application/vnd.openxmlformats-officedocument.theme+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3.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theme/theme24.xml" ContentType="application/vnd.openxmlformats-officedocument.theme+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theme/theme25.xml" ContentType="application/vnd.openxmlformats-officedocument.theme+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theme/theme26.xml" ContentType="application/vnd.openxmlformats-officedocument.theme+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7.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theme/theme28.xml" ContentType="application/vnd.openxmlformats-officedocument.theme+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7" r:id="rId6"/>
    <p:sldMasterId id="2147484290" r:id="rId7"/>
    <p:sldMasterId id="2147484298" r:id="rId8"/>
    <p:sldMasterId id="2147484429" r:id="rId9"/>
    <p:sldMasterId id="2147484447" r:id="rId10"/>
    <p:sldMasterId id="2147484455" r:id="rId11"/>
    <p:sldMasterId id="2147484492" r:id="rId12"/>
    <p:sldMasterId id="2147484517" r:id="rId13"/>
    <p:sldMasterId id="2147484550" r:id="rId14"/>
    <p:sldMasterId id="2147484570" r:id="rId15"/>
    <p:sldMasterId id="2147484602" r:id="rId16"/>
    <p:sldMasterId id="2147484648" r:id="rId17"/>
    <p:sldMasterId id="2147484679" r:id="rId18"/>
    <p:sldMasterId id="2147484717" r:id="rId19"/>
    <p:sldMasterId id="2147484755" r:id="rId20"/>
    <p:sldMasterId id="2147484790" r:id="rId21"/>
    <p:sldMasterId id="2147484826" r:id="rId22"/>
    <p:sldMasterId id="2147484850" r:id="rId23"/>
    <p:sldMasterId id="2147484884" r:id="rId24"/>
    <p:sldMasterId id="2147484915" r:id="rId25"/>
    <p:sldMasterId id="2147484939" r:id="rId26"/>
    <p:sldMasterId id="2147484973" r:id="rId27"/>
    <p:sldMasterId id="2147484999" r:id="rId28"/>
    <p:sldMasterId id="2147485045" r:id="rId29"/>
    <p:sldMasterId id="2147485069" r:id="rId30"/>
    <p:sldMasterId id="2147485083" r:id="rId31"/>
    <p:sldMasterId id="2147485105" r:id="rId32"/>
  </p:sldMasterIdLst>
  <p:notesMasterIdLst>
    <p:notesMasterId r:id="rId65"/>
  </p:notesMasterIdLst>
  <p:handoutMasterIdLst>
    <p:handoutMasterId r:id="rId66"/>
  </p:handoutMasterIdLst>
  <p:sldIdLst>
    <p:sldId id="1576" r:id="rId33"/>
    <p:sldId id="1544" r:id="rId34"/>
    <p:sldId id="1568" r:id="rId35"/>
    <p:sldId id="1567" r:id="rId36"/>
    <p:sldId id="1545" r:id="rId37"/>
    <p:sldId id="1577" r:id="rId38"/>
    <p:sldId id="1578" r:id="rId39"/>
    <p:sldId id="1579" r:id="rId40"/>
    <p:sldId id="1580" r:id="rId41"/>
    <p:sldId id="1581" r:id="rId42"/>
    <p:sldId id="1582" r:id="rId43"/>
    <p:sldId id="1583" r:id="rId44"/>
    <p:sldId id="1584" r:id="rId45"/>
    <p:sldId id="1585" r:id="rId46"/>
    <p:sldId id="1586" r:id="rId47"/>
    <p:sldId id="1587" r:id="rId48"/>
    <p:sldId id="1588" r:id="rId49"/>
    <p:sldId id="1589" r:id="rId50"/>
    <p:sldId id="1590" r:id="rId51"/>
    <p:sldId id="1591" r:id="rId52"/>
    <p:sldId id="1592" r:id="rId53"/>
    <p:sldId id="1593" r:id="rId54"/>
    <p:sldId id="1594" r:id="rId55"/>
    <p:sldId id="1595" r:id="rId56"/>
    <p:sldId id="1596" r:id="rId57"/>
    <p:sldId id="1597" r:id="rId58"/>
    <p:sldId id="1598" r:id="rId59"/>
    <p:sldId id="1599" r:id="rId60"/>
    <p:sldId id="1565" r:id="rId61"/>
    <p:sldId id="1547" r:id="rId62"/>
    <p:sldId id="1566" r:id="rId63"/>
    <p:sldId id="1556" r:id="rId6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s" id="{F5018235-C701-4E0C-91B1-D618850B2ED0}">
          <p14:sldIdLst>
            <p14:sldId id="1576"/>
            <p14:sldId id="1544"/>
            <p14:sldId id="1568"/>
            <p14:sldId id="1567"/>
            <p14:sldId id="1545"/>
          </p14:sldIdLst>
        </p14:section>
        <p14:section name="Azure - Trust" id="{E8A171C9-2031-49E0-9CF5-BB292100778A}">
          <p14:sldIdLst>
            <p14:sldId id="1577"/>
            <p14:sldId id="1578"/>
            <p14:sldId id="1579"/>
            <p14:sldId id="1580"/>
            <p14:sldId id="1581"/>
            <p14:sldId id="1582"/>
          </p14:sldIdLst>
        </p14:section>
        <p14:section name="Azure - Open" id="{FF0D4471-5E8D-4309-BEDB-B355B51BF92A}">
          <p14:sldIdLst>
            <p14:sldId id="1583"/>
            <p14:sldId id="1584"/>
            <p14:sldId id="1585"/>
            <p14:sldId id="1586"/>
          </p14:sldIdLst>
        </p14:section>
        <p14:section name="Azure - App Innovation" id="{B6DD5951-B091-4F94-9E84-805FF32E7DCA}">
          <p14:sldIdLst>
            <p14:sldId id="1587"/>
            <p14:sldId id="1588"/>
            <p14:sldId id="1589"/>
            <p14:sldId id="1590"/>
            <p14:sldId id="1591"/>
            <p14:sldId id="1592"/>
          </p14:sldIdLst>
        </p14:section>
        <p14:section name="Azure - Data Intelligence" id="{97D87FA7-CC2A-48E5-8A41-59CE711973BC}">
          <p14:sldIdLst>
            <p14:sldId id="1593"/>
            <p14:sldId id="1594"/>
            <p14:sldId id="1595"/>
            <p14:sldId id="1596"/>
            <p14:sldId id="1597"/>
            <p14:sldId id="1598"/>
            <p14:sldId id="1599"/>
            <p14:sldId id="1565"/>
          </p14:sldIdLst>
        </p14:section>
        <p14:section name="Conclusion" id="{91F88FC8-693D-40F2-96C6-181568F5D3CF}">
          <p14:sldIdLst>
            <p14:sldId id="1547"/>
            <p14:sldId id="1566"/>
            <p14:sldId id="155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D31"/>
    <a:srgbClr val="0078D7"/>
    <a:srgbClr val="E6E6E6"/>
    <a:srgbClr val="F1F1E9"/>
    <a:srgbClr val="3E3D4D"/>
    <a:srgbClr val="333333"/>
    <a:srgbClr val="373277"/>
    <a:srgbClr val="EEEEEE"/>
    <a:srgbClr val="B1DDEB"/>
    <a:srgbClr val="0171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68" autoAdjust="0"/>
    <p:restoredTop sz="83019" autoAdjust="0"/>
  </p:normalViewPr>
  <p:slideViewPr>
    <p:cSldViewPr>
      <p:cViewPr varScale="1">
        <p:scale>
          <a:sx n="93" d="100"/>
          <a:sy n="93" d="100"/>
        </p:scale>
        <p:origin x="106" y="8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83" d="100"/>
          <a:sy n="83" d="100"/>
        </p:scale>
        <p:origin x="303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7.xml"/><Relationship Id="rId21" Type="http://schemas.openxmlformats.org/officeDocument/2006/relationships/slideMaster" Target="slideMasters/slideMaster18.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63" Type="http://schemas.openxmlformats.org/officeDocument/2006/relationships/slide" Target="slides/slide31.xml"/><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61" Type="http://schemas.openxmlformats.org/officeDocument/2006/relationships/slide" Target="slides/slide2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1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commentAuthors" Target="commentAuthors.xml"/><Relationship Id="rId20" Type="http://schemas.openxmlformats.org/officeDocument/2006/relationships/slideMaster" Target="slideMasters/slideMaster17.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21/2017 12:3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21/2017 12:3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regions/service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microsoft-my.sharepoint.com/personal/evelynk_microsoft_com/_layouts/15/guestaccess.aspx?guestaccesstoken=6omAkzfEzuzcuznI8E9DFf%2bQbvh%2b34qGJaL8g3icHUo%3d&amp;docid=2_0e7335a6eec2d4c4ea25087140e67715d&amp;rev=1"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ntroductions and </a:t>
            </a:r>
            <a:r>
              <a:rPr lang="en-US" sz="1200" kern="1200">
                <a:solidFill>
                  <a:schemeClr val="tx1"/>
                </a:solidFill>
                <a:effectLst/>
                <a:latin typeface="+mn-lt"/>
                <a:ea typeface="+mn-ea"/>
                <a:cs typeface="+mn-cs"/>
              </a:rPr>
              <a:t>set expectations that this presentation is designed to discuss the role of Azure as the cloud computing platform for a business’s digital transformation.)</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62175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kern="1200" dirty="0">
                <a:solidFill>
                  <a:schemeClr val="tx1"/>
                </a:solidFill>
                <a:effectLst/>
                <a:latin typeface="+mn-lt"/>
                <a:ea typeface="+mn-ea"/>
                <a:cs typeface="+mn-cs"/>
              </a:rPr>
              <a:t>At the core of Azure is its global infrastructure that spans 38 regions worldwide. We have the largest footprint of any cloud provider – 2X that of AW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a:t>
            </a:r>
            <a:r>
              <a:rPr lang="en-US" baseline="0" dirty="0" err="1"/>
              <a:t>Gov</a:t>
            </a:r>
            <a:r>
              <a:rPr lang="en-US" baseline="0" dirty="0"/>
              <a:t>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a:p>
            <a:endParaRPr lang="en-US" sz="1400" dirty="0"/>
          </a:p>
          <a:p>
            <a:r>
              <a:rPr lang="en-US" sz="1400" dirty="0"/>
              <a:t>https://azure.microsoft.com/en-us/regions/</a:t>
            </a:r>
          </a:p>
          <a:p>
            <a:endParaRPr lang="en-US" sz="1400" dirty="0"/>
          </a:p>
          <a:p>
            <a:r>
              <a:rPr lang="en-US" sz="1200" u="sng" kern="1200" dirty="0">
                <a:solidFill>
                  <a:schemeClr val="tx1"/>
                </a:solidFill>
                <a:effectLst/>
                <a:latin typeface="+mn-lt"/>
                <a:ea typeface="+mn-ea"/>
                <a:cs typeface="+mn-cs"/>
                <a:hlinkClick r:id="rId3"/>
              </a:rPr>
              <a:t>https://azure.microsoft.com/en-us/regions/services/</a:t>
            </a:r>
            <a:r>
              <a:rPr lang="en-US" sz="1200" kern="1200" dirty="0">
                <a:solidFill>
                  <a:schemeClr val="tx1"/>
                </a:solidFill>
                <a:effectLst/>
                <a:latin typeface="+mn-lt"/>
                <a:ea typeface="+mn-ea"/>
                <a:cs typeface="+mn-cs"/>
              </a:rPr>
              <a:t> </a:t>
            </a:r>
            <a:endParaRPr lang="en-US" sz="1400" dirty="0"/>
          </a:p>
          <a:p>
            <a:endParaRPr lang="en-US" sz="1400" dirty="0"/>
          </a:p>
          <a:p>
            <a:r>
              <a:rPr lang="en-US" sz="1200" u="sng" kern="1200" dirty="0">
                <a:solidFill>
                  <a:schemeClr val="tx1"/>
                </a:solidFill>
                <a:effectLst/>
                <a:latin typeface="+mn-lt"/>
                <a:ea typeface="+mn-ea"/>
                <a:cs typeface="+mn-cs"/>
                <a:hlinkClick r:id="rId4"/>
              </a:rPr>
              <a:t>newest version</a:t>
            </a:r>
            <a:endParaRPr lang="en-US" sz="1400"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196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base" latinLnBrk="0" hangingPunct="1">
              <a:lnSpc>
                <a:spcPct val="90000"/>
              </a:lnSpc>
              <a:spcBef>
                <a:spcPts val="1000"/>
              </a:spcBef>
              <a:spcAft>
                <a:spcPts val="0"/>
              </a:spcAft>
              <a:buClrTx/>
              <a:buSzPct val="90000"/>
              <a:buFont typeface="Arial" pitchFamily="34" charset="0"/>
              <a:buNone/>
              <a:tabLst/>
              <a:defRPr/>
            </a:pPr>
            <a:r>
              <a:rPr lang="en-US" baseline="0">
                <a:solidFill>
                  <a:srgbClr val="44546A"/>
                </a:solidFill>
              </a:rPr>
              <a:t>Finally, Azure is designed with an aggressive compliance strategy that helps customers address business objectives and industry standards &amp; regulations. Our security compliance framework includes test and audit phases, security analytics, risk management best practices, and security benchmark analysis to achieve certificates and attesta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702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Azure is our cloud platform for digital transformation across your business. Our strategy to this end is to provide a platform of technologies that:</a:t>
            </a:r>
          </a:p>
          <a:p>
            <a:r>
              <a:rPr lang="en-US" sz="1200" kern="1200" dirty="0">
                <a:solidFill>
                  <a:schemeClr val="tx1"/>
                </a:solidFill>
                <a:effectLst/>
                <a:latin typeface="+mn-lt"/>
                <a:ea typeface="+mn-ea"/>
                <a:cs typeface="+mn-cs"/>
              </a:rPr>
              <a:t>1. Accelerates </a:t>
            </a:r>
            <a:r>
              <a:rPr lang="en-US" sz="1200" b="1" kern="1200" dirty="0">
                <a:solidFill>
                  <a:schemeClr val="tx1"/>
                </a:solidFill>
                <a:effectLst/>
                <a:latin typeface="+mn-lt"/>
                <a:ea typeface="+mn-ea"/>
                <a:cs typeface="+mn-cs"/>
              </a:rPr>
              <a:t>app innovation</a:t>
            </a:r>
            <a:r>
              <a:rPr lang="en-US" sz="1200" kern="1200" dirty="0">
                <a:solidFill>
                  <a:schemeClr val="tx1"/>
                </a:solidFill>
                <a:effectLst/>
                <a:latin typeface="+mn-lt"/>
                <a:ea typeface="+mn-ea"/>
                <a:cs typeface="+mn-cs"/>
              </a:rPr>
              <a:t> through rapid app development and agility in the cloud.</a:t>
            </a:r>
          </a:p>
          <a:p>
            <a:r>
              <a:rPr lang="en-US" sz="1200" kern="1200" dirty="0">
                <a:solidFill>
                  <a:schemeClr val="tx1"/>
                </a:solidFill>
                <a:effectLst/>
                <a:latin typeface="+mn-lt"/>
                <a:ea typeface="+mn-ea"/>
                <a:cs typeface="+mn-cs"/>
              </a:rPr>
              <a:t>2. Delivers integrated </a:t>
            </a:r>
            <a:r>
              <a:rPr lang="en-US" sz="1200" b="1" kern="1200" dirty="0">
                <a:solidFill>
                  <a:schemeClr val="tx1"/>
                </a:solidFill>
                <a:effectLst/>
                <a:latin typeface="+mn-lt"/>
                <a:ea typeface="+mn-ea"/>
                <a:cs typeface="+mn-cs"/>
              </a:rPr>
              <a:t>data and intelligence</a:t>
            </a:r>
            <a:r>
              <a:rPr lang="en-US" sz="1200" kern="1200" dirty="0">
                <a:solidFill>
                  <a:schemeClr val="tx1"/>
                </a:solidFill>
                <a:effectLst/>
                <a:latin typeface="+mn-lt"/>
                <a:ea typeface="+mn-ea"/>
                <a:cs typeface="+mn-cs"/>
              </a:rPr>
              <a:t>—data for rich insights to intelligence embedded within apps.</a:t>
            </a:r>
          </a:p>
          <a:p>
            <a:r>
              <a:rPr lang="en-US" sz="1200" kern="1200" dirty="0">
                <a:solidFill>
                  <a:schemeClr val="tx1"/>
                </a:solidFill>
                <a:effectLst/>
                <a:latin typeface="+mn-lt"/>
                <a:ea typeface="+mn-ea"/>
                <a:cs typeface="+mn-cs"/>
              </a:rPr>
              <a:t>3. Is </a:t>
            </a:r>
            <a:r>
              <a:rPr lang="en-US" sz="1200" b="1" kern="1200" dirty="0">
                <a:solidFill>
                  <a:schemeClr val="tx1"/>
                </a:solidFill>
                <a:effectLst/>
                <a:latin typeface="+mn-lt"/>
                <a:ea typeface="+mn-ea"/>
                <a:cs typeface="+mn-cs"/>
              </a:rPr>
              <a:t>open and flexible</a:t>
            </a:r>
            <a:r>
              <a:rPr lang="en-US" sz="1200" kern="1200" dirty="0">
                <a:solidFill>
                  <a:schemeClr val="tx1"/>
                </a:solidFill>
                <a:effectLst/>
                <a:latin typeface="+mn-lt"/>
                <a:ea typeface="+mn-ea"/>
                <a:cs typeface="+mn-cs"/>
              </a:rPr>
              <a:t>, where you can use the tools and technologies you already have and want to use.</a:t>
            </a:r>
          </a:p>
          <a:p>
            <a:r>
              <a:rPr lang="en-US" sz="1200" kern="1200" dirty="0">
                <a:solidFill>
                  <a:schemeClr val="tx1"/>
                </a:solidFill>
                <a:effectLst/>
                <a:latin typeface="+mn-lt"/>
                <a:ea typeface="+mn-ea"/>
                <a:cs typeface="+mn-cs"/>
              </a:rPr>
              <a:t>4. Is </a:t>
            </a:r>
            <a:r>
              <a:rPr lang="en-US" sz="1200" b="1" kern="1200" dirty="0">
                <a:solidFill>
                  <a:schemeClr val="tx1"/>
                </a:solidFill>
                <a:effectLst/>
                <a:latin typeface="+mn-lt"/>
                <a:ea typeface="+mn-ea"/>
                <a:cs typeface="+mn-cs"/>
              </a:rPr>
              <a:t>trusted</a:t>
            </a:r>
            <a:r>
              <a:rPr lang="en-US" sz="1200" kern="1200" dirty="0">
                <a:solidFill>
                  <a:schemeClr val="tx1"/>
                </a:solidFill>
                <a:effectLst/>
                <a:latin typeface="+mn-lt"/>
                <a:ea typeface="+mn-ea"/>
                <a:cs typeface="+mn-cs"/>
              </a:rPr>
              <a:t> to </a:t>
            </a:r>
            <a:r>
              <a:rPr lang="en-US" sz="1200" b="0" kern="1200" dirty="0">
                <a:solidFill>
                  <a:schemeClr val="tx1"/>
                </a:solidFill>
                <a:effectLst/>
                <a:latin typeface="+mn-lt"/>
                <a:ea typeface="+mn-ea"/>
                <a:cs typeface="+mn-cs"/>
              </a:rPr>
              <a:t>protect your business assets</a:t>
            </a:r>
            <a:r>
              <a:rPr lang="en-US" sz="1200" kern="1200" dirty="0">
                <a:solidFill>
                  <a:schemeClr val="tx1"/>
                </a:solidFill>
                <a:effectLst/>
                <a:latin typeface="+mn-lt"/>
                <a:ea typeface="+mn-ea"/>
                <a:cs typeface="+mn-cs"/>
              </a:rPr>
              <a:t>. As more customers expect digital experiences, they expect the data they share with an organization to be protected. </a:t>
            </a:r>
            <a:endParaRPr lang="en-US"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9522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zure, we strive</a:t>
            </a:r>
            <a:r>
              <a:rPr lang="en-US" baseline="0"/>
              <a:t> to meet customers where they are with what they have today. We do this in two ways: By providing the openness to build freely, and flexibility to deploy how and where you need to.</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295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438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sz="1200" kern="1200" dirty="0">
                <a:solidFill>
                  <a:schemeClr val="tx1"/>
                </a:solidFill>
                <a:effectLst/>
                <a:latin typeface="+mn-lt"/>
                <a:ea typeface="+mn-ea"/>
                <a:cs typeface="+mn-cs"/>
              </a:rPr>
              <a:t>We understand you have a complex environment, running both on-premises and a cloud environment. With Azure, you can take your existing IT environment, and consistently extend from on-premises to the cloud, or vice versa. Azure offers hybrid consistency everywhere: in application development, management and security, identity management, and across the data platform.​</a:t>
            </a:r>
          </a:p>
          <a:p>
            <a:r>
              <a:rPr lang="en-US" sz="1200" kern="1200" dirty="0">
                <a:solidFill>
                  <a:schemeClr val="tx1"/>
                </a:solidFill>
                <a:effectLst/>
                <a:latin typeface="+mn-lt"/>
                <a:ea typeface="+mn-ea"/>
                <a:cs typeface="+mn-cs"/>
              </a:rPr>
              <a:t>​</a:t>
            </a:r>
          </a:p>
          <a:p>
            <a:r>
              <a:rPr lang="en-US" sz="1200" i="1" kern="1200" dirty="0">
                <a:solidFill>
                  <a:schemeClr val="tx1"/>
                </a:solidFill>
                <a:effectLst/>
                <a:latin typeface="+mn-lt"/>
                <a:ea typeface="+mn-ea"/>
                <a:cs typeface="+mn-cs"/>
              </a:rPr>
              <a:t>Azure</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zure’s true hybrid capabilities give you the flexibility to go to the cloud on your terms.​</a:t>
            </a:r>
          </a:p>
          <a:p>
            <a:r>
              <a:rPr lang="en-US" sz="1200" kern="1200" dirty="0">
                <a:solidFill>
                  <a:schemeClr val="tx1"/>
                </a:solidFill>
                <a:effectLst/>
                <a:latin typeface="+mn-lt"/>
                <a:ea typeface="+mn-ea"/>
                <a:cs typeface="+mn-cs"/>
              </a:rPr>
              <a:t>·                      True hybrid isn’t just about infrastructure and connectivity — it offers consistency across your identity, management, data and development, whether on-premises or in the cloud. In addition, Microsoft has developed a broad range of cloud and on-premises technologies that work together across environments.  ​</a:t>
            </a:r>
          </a:p>
          <a:p>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Here are a few examples of how we’ve built in consistency to help you more easily manage a hybrid environment: ​</a:t>
            </a:r>
          </a:p>
          <a:p>
            <a:r>
              <a:rPr lang="en-US" sz="1200" kern="1200" dirty="0">
                <a:solidFill>
                  <a:schemeClr val="tx1"/>
                </a:solidFill>
                <a:effectLst/>
                <a:latin typeface="+mn-lt"/>
                <a:ea typeface="+mn-ea"/>
                <a:cs typeface="+mn-cs"/>
              </a:rPr>
              <a:t>First, Azure Active Directory now extends Active Directory to allow single sign-on for users and protect access to data that flows across cloud and on-premises applications.​</a:t>
            </a:r>
          </a:p>
          <a:p>
            <a:r>
              <a:rPr lang="en-US" sz="1200" kern="1200" dirty="0">
                <a:solidFill>
                  <a:schemeClr val="tx1"/>
                </a:solidFill>
                <a:effectLst/>
                <a:latin typeface="+mn-lt"/>
                <a:ea typeface="+mn-ea"/>
                <a:cs typeface="+mn-cs"/>
              </a:rPr>
              <a:t>Azure management and security services give you visibility and control across your cloud and on-premises infrastructure with simplified operations management and security. ​</a:t>
            </a:r>
          </a:p>
          <a:p>
            <a:r>
              <a:rPr lang="en-US" sz="1200" kern="1200" dirty="0">
                <a:solidFill>
                  <a:schemeClr val="tx1"/>
                </a:solidFill>
                <a:effectLst/>
                <a:latin typeface="+mn-lt"/>
                <a:ea typeface="+mn-ea"/>
                <a:cs typeface="+mn-cs"/>
              </a:rPr>
              <a:t>Both SQL Server and Azure SQL Database now use a common T-SQL query language. This means you can seamlessly distribute data between on-premises and the cloud. ​</a:t>
            </a:r>
          </a:p>
          <a:p>
            <a:r>
              <a:rPr lang="en-US" sz="1200" kern="1200" dirty="0">
                <a:solidFill>
                  <a:schemeClr val="tx1"/>
                </a:solidFill>
                <a:effectLst/>
                <a:latin typeface="+mn-lt"/>
                <a:ea typeface="+mn-ea"/>
                <a:cs typeface="+mn-cs"/>
              </a:rPr>
              <a:t>And finally, Azure Stack provides Azure services in on-premises datacenters. This means you can use a single set of APIs and tools to deploy applications anywhere. It gives your developers a common approach to building applications and the flexibility to choose where they run​</a:t>
            </a:r>
          </a:p>
          <a:p>
            <a:pPr lvl="0"/>
            <a:endParaRPr lang="en-US" dirty="0"/>
          </a:p>
          <a:p>
            <a:pPr marL="171450" lvl="0" indent="-171450">
              <a:buFont typeface="Arial" panose="020B0604020202020204" pitchFamily="34" charset="0"/>
              <a:buChar char="•"/>
            </a:pPr>
            <a:endParaRPr lang="en-US" dirty="0"/>
          </a:p>
        </p:txBody>
      </p:sp>
    </p:spTree>
    <p:extLst>
      <p:ext uri="{BB962C8B-B14F-4D97-AF65-F5344CB8AC3E}">
        <p14:creationId xmlns:p14="http://schemas.microsoft.com/office/powerpoint/2010/main" val="2458217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Azure is our cloud platform for digital transformation across your business. Our strategy to this end is to provide a platform of technologies that:</a:t>
            </a:r>
          </a:p>
          <a:p>
            <a:r>
              <a:rPr lang="en-US" sz="1200" kern="1200" dirty="0">
                <a:solidFill>
                  <a:schemeClr val="tx1"/>
                </a:solidFill>
                <a:effectLst/>
                <a:latin typeface="+mn-lt"/>
                <a:ea typeface="+mn-ea"/>
                <a:cs typeface="+mn-cs"/>
              </a:rPr>
              <a:t>1. Accelerates </a:t>
            </a:r>
            <a:r>
              <a:rPr lang="en-US" sz="1200" b="1" kern="1200" dirty="0">
                <a:solidFill>
                  <a:schemeClr val="tx1"/>
                </a:solidFill>
                <a:effectLst/>
                <a:latin typeface="+mn-lt"/>
                <a:ea typeface="+mn-ea"/>
                <a:cs typeface="+mn-cs"/>
              </a:rPr>
              <a:t>app innovation</a:t>
            </a:r>
            <a:r>
              <a:rPr lang="en-US" sz="1200" kern="1200" dirty="0">
                <a:solidFill>
                  <a:schemeClr val="tx1"/>
                </a:solidFill>
                <a:effectLst/>
                <a:latin typeface="+mn-lt"/>
                <a:ea typeface="+mn-ea"/>
                <a:cs typeface="+mn-cs"/>
              </a:rPr>
              <a:t> through rapid app development and agility in the cloud.</a:t>
            </a:r>
          </a:p>
          <a:p>
            <a:r>
              <a:rPr lang="en-US" sz="1200" kern="1200" dirty="0">
                <a:solidFill>
                  <a:schemeClr val="tx1"/>
                </a:solidFill>
                <a:effectLst/>
                <a:latin typeface="+mn-lt"/>
                <a:ea typeface="+mn-ea"/>
                <a:cs typeface="+mn-cs"/>
              </a:rPr>
              <a:t>2. Delivers integrated </a:t>
            </a:r>
            <a:r>
              <a:rPr lang="en-US" sz="1200" b="1" kern="1200" dirty="0">
                <a:solidFill>
                  <a:schemeClr val="tx1"/>
                </a:solidFill>
                <a:effectLst/>
                <a:latin typeface="+mn-lt"/>
                <a:ea typeface="+mn-ea"/>
                <a:cs typeface="+mn-cs"/>
              </a:rPr>
              <a:t>data and intelligence</a:t>
            </a:r>
            <a:r>
              <a:rPr lang="en-US" sz="1200" kern="1200" dirty="0">
                <a:solidFill>
                  <a:schemeClr val="tx1"/>
                </a:solidFill>
                <a:effectLst/>
                <a:latin typeface="+mn-lt"/>
                <a:ea typeface="+mn-ea"/>
                <a:cs typeface="+mn-cs"/>
              </a:rPr>
              <a:t>—data for rich insights to intelligence embedded within apps.</a:t>
            </a:r>
          </a:p>
          <a:p>
            <a:r>
              <a:rPr lang="en-US" sz="1200" kern="1200" dirty="0">
                <a:solidFill>
                  <a:schemeClr val="tx1"/>
                </a:solidFill>
                <a:effectLst/>
                <a:latin typeface="+mn-lt"/>
                <a:ea typeface="+mn-ea"/>
                <a:cs typeface="+mn-cs"/>
              </a:rPr>
              <a:t>3. Is </a:t>
            </a:r>
            <a:r>
              <a:rPr lang="en-US" sz="1200" b="1" kern="1200" dirty="0">
                <a:solidFill>
                  <a:schemeClr val="tx1"/>
                </a:solidFill>
                <a:effectLst/>
                <a:latin typeface="+mn-lt"/>
                <a:ea typeface="+mn-ea"/>
                <a:cs typeface="+mn-cs"/>
              </a:rPr>
              <a:t>open and flexible</a:t>
            </a:r>
            <a:r>
              <a:rPr lang="en-US" sz="1200" kern="1200" dirty="0">
                <a:solidFill>
                  <a:schemeClr val="tx1"/>
                </a:solidFill>
                <a:effectLst/>
                <a:latin typeface="+mn-lt"/>
                <a:ea typeface="+mn-ea"/>
                <a:cs typeface="+mn-cs"/>
              </a:rPr>
              <a:t>, where you can use the tools and technologies you already have and want to use.</a:t>
            </a:r>
          </a:p>
          <a:p>
            <a:r>
              <a:rPr lang="en-US" sz="1200" kern="1200" dirty="0">
                <a:solidFill>
                  <a:schemeClr val="tx1"/>
                </a:solidFill>
                <a:effectLst/>
                <a:latin typeface="+mn-lt"/>
                <a:ea typeface="+mn-ea"/>
                <a:cs typeface="+mn-cs"/>
              </a:rPr>
              <a:t>4. Is </a:t>
            </a:r>
            <a:r>
              <a:rPr lang="en-US" sz="1200" b="1" kern="1200" dirty="0">
                <a:solidFill>
                  <a:schemeClr val="tx1"/>
                </a:solidFill>
                <a:effectLst/>
                <a:latin typeface="+mn-lt"/>
                <a:ea typeface="+mn-ea"/>
                <a:cs typeface="+mn-cs"/>
              </a:rPr>
              <a:t>trusted</a:t>
            </a:r>
            <a:r>
              <a:rPr lang="en-US" sz="1200" kern="1200" dirty="0">
                <a:solidFill>
                  <a:schemeClr val="tx1"/>
                </a:solidFill>
                <a:effectLst/>
                <a:latin typeface="+mn-lt"/>
                <a:ea typeface="+mn-ea"/>
                <a:cs typeface="+mn-cs"/>
              </a:rPr>
              <a:t> to </a:t>
            </a:r>
            <a:r>
              <a:rPr lang="en-US" sz="1200" b="0" kern="1200" dirty="0">
                <a:solidFill>
                  <a:schemeClr val="tx1"/>
                </a:solidFill>
                <a:effectLst/>
                <a:latin typeface="+mn-lt"/>
                <a:ea typeface="+mn-ea"/>
                <a:cs typeface="+mn-cs"/>
              </a:rPr>
              <a:t>protect your business assets</a:t>
            </a:r>
            <a:r>
              <a:rPr lang="en-US" sz="1200" kern="1200" dirty="0">
                <a:solidFill>
                  <a:schemeClr val="tx1"/>
                </a:solidFill>
                <a:effectLst/>
                <a:latin typeface="+mn-lt"/>
                <a:ea typeface="+mn-ea"/>
                <a:cs typeface="+mn-cs"/>
              </a:rPr>
              <a:t>. As more customers expect digital experiences, they expect the data they share with an organization to be protected. We help you do that.</a:t>
            </a:r>
            <a:endParaRPr lang="en-US"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1023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146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kern="1200" dirty="0">
                <a:solidFill>
                  <a:schemeClr val="tx1"/>
                </a:solidFill>
                <a:effectLst/>
                <a:latin typeface="+mn-lt"/>
                <a:ea typeface="+mn-ea"/>
                <a:cs typeface="+mn-cs"/>
              </a:rPr>
              <a:t>Build on the OS:  Virtual Machines are the “base unit” for moving workloads to the cloud. Th</a:t>
            </a:r>
            <a:r>
              <a:rPr lang="en-US" sz="1200" baseline="0" dirty="0"/>
              <a:t>e Azure Container Service provides a really fast way to get containers into production with a choice of popular open source container orchestration solutions: DC/OS or Docker Swarm</a:t>
            </a:r>
          </a:p>
          <a:p>
            <a:pPr marL="0" indent="0">
              <a:buFont typeface="Arial" panose="020B0604020202020204" pitchFamily="34" charset="0"/>
              <a:buNone/>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24" kern="1200" dirty="0">
                <a:solidFill>
                  <a:schemeClr val="tx1"/>
                </a:solidFill>
                <a:effectLst/>
                <a:latin typeface="+mn-lt"/>
                <a:ea typeface="+mn-ea"/>
                <a:cs typeface="+mn-cs"/>
              </a:rPr>
              <a:t>Service Fabric: is a platform that developers and ISVs can use to build and manage custom microservice-based applications at cloud scale and with 24x7 availability. Microservices are an architectural approach based on fine-grained, loosely coupled services that can enable advanced developer agility</a:t>
            </a:r>
          </a:p>
          <a:p>
            <a:pPr marL="0" indent="0">
              <a:buFont typeface="Arial" panose="020B0604020202020204" pitchFamily="34" charset="0"/>
              <a:buNone/>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24" kern="1200" dirty="0">
                <a:solidFill>
                  <a:schemeClr val="tx1"/>
                </a:solidFill>
                <a:effectLst/>
                <a:latin typeface="+mn-lt"/>
                <a:ea typeface="+mn-ea"/>
                <a:cs typeface="+mn-cs"/>
              </a:rPr>
              <a:t>Other PaaS: all PaaS runs great on Azure! Azure supports the leading third-party</a:t>
            </a:r>
            <a:r>
              <a:rPr lang="en-US" sz="1224" kern="1200" baseline="0" dirty="0">
                <a:solidFill>
                  <a:schemeClr val="tx1"/>
                </a:solidFill>
                <a:effectLst/>
                <a:latin typeface="+mn-lt"/>
                <a:ea typeface="+mn-ea"/>
                <a:cs typeface="+mn-cs"/>
              </a:rPr>
              <a:t> </a:t>
            </a:r>
            <a:r>
              <a:rPr lang="en-US" sz="1224" kern="1200" dirty="0">
                <a:solidFill>
                  <a:schemeClr val="tx1"/>
                </a:solidFill>
                <a:effectLst/>
                <a:latin typeface="+mn-lt"/>
                <a:ea typeface="+mn-ea"/>
                <a:cs typeface="+mn-cs"/>
              </a:rPr>
              <a:t>PaaS framework providers</a:t>
            </a:r>
            <a:r>
              <a:rPr lang="en-US" sz="1224" kern="1200" baseline="0" dirty="0">
                <a:solidFill>
                  <a:schemeClr val="tx1"/>
                </a:solidFill>
                <a:effectLst/>
                <a:latin typeface="+mn-lt"/>
                <a:ea typeface="+mn-ea"/>
                <a:cs typeface="+mn-cs"/>
              </a:rPr>
              <a:t> like Cloud Foundry and </a:t>
            </a:r>
            <a:r>
              <a:rPr lang="en-US" sz="1224" kern="1200" baseline="0" dirty="0" err="1">
                <a:solidFill>
                  <a:schemeClr val="tx1"/>
                </a:solidFill>
                <a:effectLst/>
                <a:latin typeface="+mn-lt"/>
                <a:ea typeface="+mn-ea"/>
                <a:cs typeface="+mn-cs"/>
              </a:rPr>
              <a:t>OpenShift</a:t>
            </a:r>
            <a:r>
              <a:rPr lang="en-US" sz="1224" kern="1200" baseline="0" dirty="0">
                <a:solidFill>
                  <a:schemeClr val="tx1"/>
                </a:solidFill>
                <a:effectLst/>
                <a:latin typeface="+mn-lt"/>
                <a:ea typeface="+mn-ea"/>
                <a:cs typeface="+mn-cs"/>
              </a:rPr>
              <a:t>.</a:t>
            </a:r>
            <a:endParaRPr lang="en-US" sz="1224"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5217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24" kern="1200" dirty="0">
                <a:solidFill>
                  <a:schemeClr val="tx1"/>
                </a:solidFill>
                <a:effectLst/>
                <a:latin typeface="+mn-lt"/>
                <a:ea typeface="+mn-ea"/>
                <a:cs typeface="+mn-cs"/>
              </a:rPr>
              <a:t>App Service: is a set of services that has everything you need to build apps that target both web and mobile clients from a single app back end. Supporting a range of language options—.NET, Node.js, Java, PHP, and Python—it consists of Web Apps, Mobile Apps, Logic Apps, and API Apps. </a:t>
            </a:r>
          </a:p>
          <a:p>
            <a:pPr marL="0" indent="0">
              <a:buFont typeface="Arial" panose="020B0604020202020204" pitchFamily="34" charset="0"/>
              <a:buNone/>
            </a:pPr>
            <a:endParaRPr lang="en-US" sz="1224" kern="1200" dirty="0">
              <a:solidFill>
                <a:schemeClr val="tx1"/>
              </a:solidFill>
              <a:effectLst/>
              <a:latin typeface="+mn-lt"/>
              <a:ea typeface="+mn-ea"/>
              <a:cs typeface="+mn-cs"/>
            </a:endParaRPr>
          </a:p>
          <a:p>
            <a:pPr marL="0" indent="0">
              <a:buFont typeface="Arial" panose="020B0604020202020204" pitchFamily="34" charset="0"/>
              <a:buNone/>
            </a:pPr>
            <a:r>
              <a:rPr lang="en-US" sz="1224" kern="1200" dirty="0">
                <a:solidFill>
                  <a:schemeClr val="tx1"/>
                </a:solidFill>
                <a:effectLst/>
                <a:latin typeface="+mn-lt"/>
                <a:ea typeface="+mn-ea"/>
                <a:cs typeface="+mn-cs"/>
              </a:rPr>
              <a:t>Functions: provides </a:t>
            </a:r>
            <a:r>
              <a:rPr lang="en-US" sz="1224" kern="1200" dirty="0" err="1">
                <a:solidFill>
                  <a:schemeClr val="tx1"/>
                </a:solidFill>
                <a:effectLst/>
                <a:latin typeface="+mn-lt"/>
                <a:ea typeface="+mn-ea"/>
                <a:cs typeface="+mn-cs"/>
              </a:rPr>
              <a:t>serverless</a:t>
            </a:r>
            <a:r>
              <a:rPr lang="en-US" sz="1224" kern="1200" dirty="0">
                <a:solidFill>
                  <a:schemeClr val="tx1"/>
                </a:solidFill>
                <a:effectLst/>
                <a:latin typeface="+mn-lt"/>
                <a:ea typeface="+mn-ea"/>
                <a:cs typeface="+mn-cs"/>
              </a:rPr>
              <a:t>, compute for event-driven solutions that extends the existing Azure application platform with capabilities to implement code triggered by events occurring in other Azure services, SaaS products (like Office365 and Salesforce.com), and on-premises systems. </a:t>
            </a:r>
          </a:p>
          <a:p>
            <a:pPr marL="0" indent="0">
              <a:buFont typeface="Arial" panose="020B0604020202020204" pitchFamily="34" charset="0"/>
              <a:buNone/>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24" kern="1200" dirty="0">
                <a:solidFill>
                  <a:schemeClr val="tx1"/>
                </a:solidFill>
                <a:effectLst/>
                <a:latin typeface="+mn-lt"/>
                <a:ea typeface="+mn-ea"/>
                <a:cs typeface="+mn-cs"/>
              </a:rPr>
              <a:t>Cloud Services: was the original Microsoft platform as a service (PaaS) service launched in 2010. Inspired by the needs of developers, Cloud Services enabled them to easily deploy .NET applications, taking advantage of cloud infrastructure like Virtual Machines and Virtual Networks without having to manage the low-level details and configuration of Windows Server and the underlying infrastructure.</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24" kern="1200" dirty="0">
                <a:solidFill>
                  <a:schemeClr val="tx1"/>
                </a:solidFill>
                <a:effectLst/>
                <a:latin typeface="+mn-lt"/>
                <a:ea typeface="+mn-ea"/>
                <a:cs typeface="+mn-cs"/>
              </a:rPr>
              <a:t>Other PaaS: all PaaS runs great on Azure! Azure supports the leading third-party</a:t>
            </a:r>
            <a:r>
              <a:rPr lang="en-US" sz="1224" kern="1200" baseline="0" dirty="0">
                <a:solidFill>
                  <a:schemeClr val="tx1"/>
                </a:solidFill>
                <a:effectLst/>
                <a:latin typeface="+mn-lt"/>
                <a:ea typeface="+mn-ea"/>
                <a:cs typeface="+mn-cs"/>
              </a:rPr>
              <a:t> </a:t>
            </a:r>
            <a:r>
              <a:rPr lang="en-US" sz="1224" kern="1200" dirty="0">
                <a:solidFill>
                  <a:schemeClr val="tx1"/>
                </a:solidFill>
                <a:effectLst/>
                <a:latin typeface="+mn-lt"/>
                <a:ea typeface="+mn-ea"/>
                <a:cs typeface="+mn-cs"/>
              </a:rPr>
              <a:t>PaaS framework providers</a:t>
            </a:r>
            <a:r>
              <a:rPr lang="en-US" sz="1224" kern="1200" baseline="0" dirty="0">
                <a:solidFill>
                  <a:schemeClr val="tx1"/>
                </a:solidFill>
                <a:effectLst/>
                <a:latin typeface="+mn-lt"/>
                <a:ea typeface="+mn-ea"/>
                <a:cs typeface="+mn-cs"/>
              </a:rPr>
              <a:t> like Cloud Foundry and </a:t>
            </a:r>
            <a:r>
              <a:rPr lang="en-US" sz="1224" kern="1200" baseline="0" dirty="0" err="1">
                <a:solidFill>
                  <a:schemeClr val="tx1"/>
                </a:solidFill>
                <a:effectLst/>
                <a:latin typeface="+mn-lt"/>
                <a:ea typeface="+mn-ea"/>
                <a:cs typeface="+mn-cs"/>
              </a:rPr>
              <a:t>OpenShift</a:t>
            </a:r>
            <a:r>
              <a:rPr lang="en-US" sz="1224" kern="1200" baseline="0" dirty="0">
                <a:solidFill>
                  <a:schemeClr val="tx1"/>
                </a:solidFill>
                <a:effectLst/>
                <a:latin typeface="+mn-lt"/>
                <a:ea typeface="+mn-ea"/>
                <a:cs typeface="+mn-cs"/>
              </a:rPr>
              <a:t>.</a:t>
            </a:r>
            <a:endParaRPr lang="en-US" sz="1224"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0417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12:3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72152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o begin, on</a:t>
            </a:r>
            <a:r>
              <a:rPr lang="en-US" baseline="0" dirty="0"/>
              <a:t> the left we have the Azure Portal. </a:t>
            </a:r>
            <a:r>
              <a:rPr lang="en-US" dirty="0"/>
              <a:t>When you sign up for Azure you get the ability to build dashboards that include monitoring, metrics for individual resources, topology views,</a:t>
            </a:r>
            <a:r>
              <a:rPr lang="en-US" baseline="0" dirty="0"/>
              <a:t> and more—this is something each user can personally configure.</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hen</a:t>
            </a:r>
            <a:r>
              <a:rPr lang="en-US" baseline="0" dirty="0"/>
              <a:t> building applications, many groups leverage Application Insights for monitoring within the Dev</a:t>
            </a:r>
            <a:r>
              <a:rPr lang="en-US" dirty="0"/>
              <a:t>Ops process.</a:t>
            </a:r>
            <a:r>
              <a:rPr lang="en-US" baseline="0" dirty="0"/>
              <a:t> Application Insights integrates</a:t>
            </a:r>
            <a:r>
              <a:rPr lang="en-US" dirty="0"/>
              <a:t> with the Azure portal to view metrics directly from applications, as well as application dependencies.</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Finally, on the right, Operations Management Suite pulls together cloud, on-premises, and multi-cloud into one view for management as well as security across Azure, but also AWS, Windows Server, Linux, VMWare, OpenStack, etc.</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1164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ith </a:t>
            </a:r>
            <a:r>
              <a:rPr lang="en-US" baseline="0" dirty="0" err="1"/>
              <a:t>HockeyApp</a:t>
            </a:r>
            <a:r>
              <a:rPr lang="en-US" baseline="0" dirty="0"/>
              <a:t> we can manage beta distribution, get real-time crash reports, and engage with customer feedback for continuous integration.</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Azure Mobile</a:t>
            </a:r>
            <a:r>
              <a:rPr lang="en-US" baseline="0" dirty="0"/>
              <a:t> App Service provides the back-end services that customers require, including offline data sync, user authentication, and push notifications. Mobile App Service is also tool agnostic, so whether you’re using Xamarin/</a:t>
            </a:r>
            <a:r>
              <a:rPr lang="en-US" baseline="0" dirty="0" err="1"/>
              <a:t>HockeyApp</a:t>
            </a:r>
            <a:r>
              <a:rPr lang="en-US" baseline="0" dirty="0"/>
              <a:t> or another tool, you can leverage the mobile back-end services all the sam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0004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Azure is our cloud platform for digital transformation across your business. Our strategy to this end is to provide a platform of technologies that:</a:t>
            </a:r>
          </a:p>
          <a:p>
            <a:r>
              <a:rPr lang="en-US" sz="1200" kern="1200" dirty="0">
                <a:solidFill>
                  <a:schemeClr val="tx1"/>
                </a:solidFill>
                <a:effectLst/>
                <a:latin typeface="+mn-lt"/>
                <a:ea typeface="+mn-ea"/>
                <a:cs typeface="+mn-cs"/>
              </a:rPr>
              <a:t>1. Accelerates </a:t>
            </a:r>
            <a:r>
              <a:rPr lang="en-US" sz="1200" b="1" kern="1200" dirty="0">
                <a:solidFill>
                  <a:schemeClr val="tx1"/>
                </a:solidFill>
                <a:effectLst/>
                <a:latin typeface="+mn-lt"/>
                <a:ea typeface="+mn-ea"/>
                <a:cs typeface="+mn-cs"/>
              </a:rPr>
              <a:t>app innovation</a:t>
            </a:r>
            <a:r>
              <a:rPr lang="en-US" sz="1200" kern="1200" dirty="0">
                <a:solidFill>
                  <a:schemeClr val="tx1"/>
                </a:solidFill>
                <a:effectLst/>
                <a:latin typeface="+mn-lt"/>
                <a:ea typeface="+mn-ea"/>
                <a:cs typeface="+mn-cs"/>
              </a:rPr>
              <a:t> through rapid app development and agility in the cloud.</a:t>
            </a:r>
          </a:p>
          <a:p>
            <a:r>
              <a:rPr lang="en-US" sz="1200" kern="1200" dirty="0">
                <a:solidFill>
                  <a:schemeClr val="tx1"/>
                </a:solidFill>
                <a:effectLst/>
                <a:latin typeface="+mn-lt"/>
                <a:ea typeface="+mn-ea"/>
                <a:cs typeface="+mn-cs"/>
              </a:rPr>
              <a:t>2. Delivers integrated </a:t>
            </a:r>
            <a:r>
              <a:rPr lang="en-US" sz="1200" b="1" kern="1200" dirty="0">
                <a:solidFill>
                  <a:schemeClr val="tx1"/>
                </a:solidFill>
                <a:effectLst/>
                <a:latin typeface="+mn-lt"/>
                <a:ea typeface="+mn-ea"/>
                <a:cs typeface="+mn-cs"/>
              </a:rPr>
              <a:t>data and intelligence</a:t>
            </a:r>
            <a:r>
              <a:rPr lang="en-US" sz="1200" kern="1200" dirty="0">
                <a:solidFill>
                  <a:schemeClr val="tx1"/>
                </a:solidFill>
                <a:effectLst/>
                <a:latin typeface="+mn-lt"/>
                <a:ea typeface="+mn-ea"/>
                <a:cs typeface="+mn-cs"/>
              </a:rPr>
              <a:t>—data for rich insights to intelligence embedded within apps.</a:t>
            </a:r>
          </a:p>
          <a:p>
            <a:r>
              <a:rPr lang="en-US" sz="1200" kern="1200" dirty="0">
                <a:solidFill>
                  <a:schemeClr val="tx1"/>
                </a:solidFill>
                <a:effectLst/>
                <a:latin typeface="+mn-lt"/>
                <a:ea typeface="+mn-ea"/>
                <a:cs typeface="+mn-cs"/>
              </a:rPr>
              <a:t>3. Is </a:t>
            </a:r>
            <a:r>
              <a:rPr lang="en-US" sz="1200" b="1" kern="1200" dirty="0">
                <a:solidFill>
                  <a:schemeClr val="tx1"/>
                </a:solidFill>
                <a:effectLst/>
                <a:latin typeface="+mn-lt"/>
                <a:ea typeface="+mn-ea"/>
                <a:cs typeface="+mn-cs"/>
              </a:rPr>
              <a:t>open and flexible</a:t>
            </a:r>
            <a:r>
              <a:rPr lang="en-US" sz="1200" kern="1200" dirty="0">
                <a:solidFill>
                  <a:schemeClr val="tx1"/>
                </a:solidFill>
                <a:effectLst/>
                <a:latin typeface="+mn-lt"/>
                <a:ea typeface="+mn-ea"/>
                <a:cs typeface="+mn-cs"/>
              </a:rPr>
              <a:t>, where you can use the tools and technologies you already have and want to use.</a:t>
            </a:r>
          </a:p>
          <a:p>
            <a:r>
              <a:rPr lang="en-US" sz="1200" kern="1200" dirty="0">
                <a:solidFill>
                  <a:schemeClr val="tx1"/>
                </a:solidFill>
                <a:effectLst/>
                <a:latin typeface="+mn-lt"/>
                <a:ea typeface="+mn-ea"/>
                <a:cs typeface="+mn-cs"/>
              </a:rPr>
              <a:t>4. Is </a:t>
            </a:r>
            <a:r>
              <a:rPr lang="en-US" sz="1200" b="1" kern="1200" dirty="0">
                <a:solidFill>
                  <a:schemeClr val="tx1"/>
                </a:solidFill>
                <a:effectLst/>
                <a:latin typeface="+mn-lt"/>
                <a:ea typeface="+mn-ea"/>
                <a:cs typeface="+mn-cs"/>
              </a:rPr>
              <a:t>trusted</a:t>
            </a:r>
            <a:r>
              <a:rPr lang="en-US" sz="1200" kern="1200" dirty="0">
                <a:solidFill>
                  <a:schemeClr val="tx1"/>
                </a:solidFill>
                <a:effectLst/>
                <a:latin typeface="+mn-lt"/>
                <a:ea typeface="+mn-ea"/>
                <a:cs typeface="+mn-cs"/>
              </a:rPr>
              <a:t> to </a:t>
            </a:r>
            <a:r>
              <a:rPr lang="en-US" sz="1200" b="0" kern="1200" dirty="0">
                <a:solidFill>
                  <a:schemeClr val="tx1"/>
                </a:solidFill>
                <a:effectLst/>
                <a:latin typeface="+mn-lt"/>
                <a:ea typeface="+mn-ea"/>
                <a:cs typeface="+mn-cs"/>
              </a:rPr>
              <a:t>protect your business assets</a:t>
            </a:r>
            <a:r>
              <a:rPr lang="en-US" sz="1200" kern="1200" dirty="0">
                <a:solidFill>
                  <a:schemeClr val="tx1"/>
                </a:solidFill>
                <a:effectLst/>
                <a:latin typeface="+mn-lt"/>
                <a:ea typeface="+mn-ea"/>
                <a:cs typeface="+mn-cs"/>
              </a:rPr>
              <a:t>. As more customers expect digital experiences, they expect the data they share with an organization to be protected. We help you do that.</a:t>
            </a:r>
          </a:p>
          <a:p>
            <a:r>
              <a:rPr lang="en-US" sz="1200" kern="1200" dirty="0">
                <a:solidFill>
                  <a:schemeClr val="tx1"/>
                </a:solidFill>
                <a:effectLst/>
                <a:latin typeface="+mn-lt"/>
                <a:ea typeface="+mn-ea"/>
                <a:cs typeface="+mn-cs"/>
              </a:rPr>
              <a:t>Let’s discuss these areas in more detail.</a:t>
            </a:r>
            <a:endParaRPr lang="en-US"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734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solidFill>
                  <a:schemeClr val="bg1"/>
                </a:solidFill>
              </a:rPr>
              <a:t>Let’s look at some of</a:t>
            </a:r>
            <a:r>
              <a:rPr lang="en-US" sz="1400" b="1" baseline="0" dirty="0">
                <a:solidFill>
                  <a:schemeClr val="bg1"/>
                </a:solidFill>
              </a:rPr>
              <a:t> the key benefits of Azure data and intelligence.</a:t>
            </a:r>
            <a:endParaRPr lang="en-US" sz="1400" b="1"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6863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8805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333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Cognitive Services includes APIs for vision, speech, language, knowledge, and search.</a:t>
            </a:r>
          </a:p>
          <a:p>
            <a:endParaRPr lang="en-US" dirty="0"/>
          </a:p>
          <a:p>
            <a:r>
              <a:rPr lang="en-US" dirty="0"/>
              <a:t>Bot Framework includes a connector, to text/</a:t>
            </a:r>
            <a:r>
              <a:rPr lang="en-US" dirty="0" err="1"/>
              <a:t>sms</a:t>
            </a:r>
            <a:r>
              <a:rPr lang="en-US" dirty="0"/>
              <a:t>, O365, Slack, etc., an open source SDK, and a directory of public bot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36312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gnitive Services includes APIs for vision, speech, language, knowledge, and search.</a:t>
            </a:r>
          </a:p>
          <a:p>
            <a:endParaRPr lang="en-US" dirty="0"/>
          </a:p>
          <a:p>
            <a:r>
              <a:rPr lang="en-US" dirty="0"/>
              <a:t>Bot Framework includes a connector, to text/</a:t>
            </a:r>
            <a:r>
              <a:rPr lang="en-US" dirty="0" err="1"/>
              <a:t>sms</a:t>
            </a:r>
            <a:r>
              <a:rPr lang="en-US" dirty="0"/>
              <a:t>, O365, Slack, etc., an open source SDK, and a directory of public bot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201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0677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12: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0679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2313"/>
            <a:ext cx="6418262" cy="3609975"/>
          </a:xfrm>
        </p:spPr>
      </p:sp>
      <p:sp>
        <p:nvSpPr>
          <p:cNvPr id="3" name="Notes Placeholder 2"/>
          <p:cNvSpPr>
            <a:spLocks noGrp="1"/>
          </p:cNvSpPr>
          <p:nvPr>
            <p:ph type="body" idx="1"/>
          </p:nvPr>
        </p:nvSpPr>
        <p:spPr/>
        <p:txBody>
          <a:bodyPr/>
          <a:lstStyle/>
          <a:p>
            <a:r>
              <a:rPr lang="en-US" sz="1000" b="0" dirty="0"/>
              <a:t>What is a technical evangelist?</a:t>
            </a:r>
          </a:p>
        </p:txBody>
      </p:sp>
      <p:sp>
        <p:nvSpPr>
          <p:cNvPr id="8" name="Date Placeholder 7"/>
          <p:cNvSpPr>
            <a:spLocks noGrp="1"/>
          </p:cNvSpPr>
          <p:nvPr>
            <p:ph type="dt" idx="10"/>
          </p:nvPr>
        </p:nvSpPr>
        <p:spPr/>
        <p:txBody>
          <a:bodyPr/>
          <a:lstStyle/>
          <a:p>
            <a:pPr marL="0" marR="0" lvl="0" indent="0" algn="r" defTabSz="985944"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85944" rtl="0" eaLnBrk="1" fontAlgn="auto" latinLnBrk="0" hangingPunct="1">
                <a:lnSpc>
                  <a:spcPct val="100000"/>
                </a:lnSpc>
                <a:spcBef>
                  <a:spcPts val="0"/>
                </a:spcBef>
                <a:spcAft>
                  <a:spcPts val="0"/>
                </a:spcAft>
                <a:buClrTx/>
                <a:buSzTx/>
                <a:buFontTx/>
                <a:buNone/>
                <a:tabLst/>
                <a:defRPr/>
              </a:pPr>
              <a:t>4/21/20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Number Placeholder 9"/>
          <p:cNvSpPr>
            <a:spLocks noGrp="1"/>
          </p:cNvSpPr>
          <p:nvPr>
            <p:ph type="sldNum" sz="quarter" idx="12"/>
          </p:nvPr>
        </p:nvSpPr>
        <p:spPr/>
        <p:txBody>
          <a:bodyPr/>
          <a:lstStyle/>
          <a:p>
            <a:pPr marL="0" marR="0" lvl="0" indent="0" algn="r" defTabSz="98594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859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7371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12: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4431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rn more about me her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1/2017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987548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12: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5842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echnology is omnipresent. It’s shaping how</a:t>
            </a:r>
            <a:r>
              <a:rPr lang="en-US" sz="1200" kern="1200" baseline="0" dirty="0">
                <a:solidFill>
                  <a:schemeClr val="tx1"/>
                </a:solidFill>
                <a:effectLst/>
                <a:latin typeface="+mn-lt"/>
                <a:ea typeface="+mn-ea"/>
                <a:cs typeface="+mn-cs"/>
              </a:rPr>
              <a:t> businesses plan for innovation and growth within their markets. The importance of digital transformation is urgent; Since 2000, 52% of Fortune 500 companies are gone due to digital disruption.</a:t>
            </a:r>
          </a:p>
          <a:p>
            <a:endParaRPr lang="en-US" sz="1200" kern="1200" baseline="0" dirty="0">
              <a:solidFill>
                <a:schemeClr val="tx1"/>
              </a:solidFill>
              <a:effectLst/>
              <a:latin typeface="+mn-lt"/>
              <a:ea typeface="+mn-ea"/>
              <a:cs typeface="+mn-cs"/>
            </a:endParaRPr>
          </a:p>
          <a:p>
            <a:r>
              <a:rPr lang="en-US" sz="1200" kern="1200" baseline="0" dirty="0">
                <a:solidFill>
                  <a:schemeClr val="tx1"/>
                </a:solidFill>
                <a:effectLst/>
                <a:latin typeface="+mn-lt"/>
                <a:ea typeface="+mn-ea"/>
                <a:cs typeface="+mn-cs"/>
              </a:rPr>
              <a:t>We see companies </a:t>
            </a:r>
            <a:r>
              <a:rPr lang="en-US" sz="1200" kern="1200" dirty="0">
                <a:solidFill>
                  <a:schemeClr val="tx1"/>
                </a:solidFill>
                <a:effectLst/>
                <a:latin typeface="+mn-lt"/>
                <a:ea typeface="+mn-ea"/>
                <a:cs typeface="+mn-cs"/>
              </a:rPr>
              <a:t>responding by creating digital strategies across</a:t>
            </a:r>
            <a:r>
              <a:rPr lang="en-US" sz="1200" kern="1200" baseline="0" dirty="0">
                <a:solidFill>
                  <a:schemeClr val="tx1"/>
                </a:solidFill>
                <a:effectLst/>
                <a:latin typeface="+mn-lt"/>
                <a:ea typeface="+mn-ea"/>
                <a:cs typeface="+mn-cs"/>
              </a:rPr>
              <a:t> four core areas: </a:t>
            </a:r>
            <a:r>
              <a:rPr lang="en-US" sz="1200" kern="1200" dirty="0">
                <a:solidFill>
                  <a:schemeClr val="tx1"/>
                </a:solidFill>
                <a:effectLst/>
                <a:latin typeface="+mn-lt"/>
                <a:ea typeface="+mn-ea"/>
                <a:cs typeface="+mn-cs"/>
              </a:rPr>
              <a:t>engag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customers, empowering their employees, optimiz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operations, and transform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products.</a:t>
            </a:r>
          </a:p>
          <a:p>
            <a:endParaRPr lang="en-US" sz="1200" b="1"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Every</a:t>
            </a:r>
            <a:r>
              <a:rPr lang="en-US" sz="1200" b="0" kern="1200" baseline="0" dirty="0">
                <a:solidFill>
                  <a:schemeClr val="tx1"/>
                </a:solidFill>
                <a:effectLst/>
                <a:latin typeface="+mn-lt"/>
                <a:ea typeface="+mn-ea"/>
                <a:cs typeface="+mn-cs"/>
              </a:rPr>
              <a:t>one is aware of how important this is. Look at a company like Uber for example. They’ve created a digital model for the taxi industry that has allowed them to surpass every other taxi company by double or more, recently valued at $62.5 Billion. They’ve created a significant shift in an industry that has been largely untouched for decades.</a:t>
            </a: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333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Azure is our cloud platform for digital transformation across your business. Our strategy to this end is to provide a platform of technologies that:</a:t>
            </a:r>
          </a:p>
          <a:p>
            <a:r>
              <a:rPr lang="en-US" sz="1200" kern="1200" dirty="0">
                <a:solidFill>
                  <a:schemeClr val="tx1"/>
                </a:solidFill>
                <a:effectLst/>
                <a:latin typeface="+mn-lt"/>
                <a:ea typeface="+mn-ea"/>
                <a:cs typeface="+mn-cs"/>
              </a:rPr>
              <a:t>1. Accelerates </a:t>
            </a:r>
            <a:r>
              <a:rPr lang="en-US" sz="1200" b="1" kern="1200" dirty="0">
                <a:solidFill>
                  <a:schemeClr val="tx1"/>
                </a:solidFill>
                <a:effectLst/>
                <a:latin typeface="+mn-lt"/>
                <a:ea typeface="+mn-ea"/>
                <a:cs typeface="+mn-cs"/>
              </a:rPr>
              <a:t>app innovation</a:t>
            </a:r>
            <a:r>
              <a:rPr lang="en-US" sz="1200" kern="1200" dirty="0">
                <a:solidFill>
                  <a:schemeClr val="tx1"/>
                </a:solidFill>
                <a:effectLst/>
                <a:latin typeface="+mn-lt"/>
                <a:ea typeface="+mn-ea"/>
                <a:cs typeface="+mn-cs"/>
              </a:rPr>
              <a:t> through rapid app development and agility in the cloud.</a:t>
            </a:r>
          </a:p>
          <a:p>
            <a:r>
              <a:rPr lang="en-US" sz="1200" kern="1200" dirty="0">
                <a:solidFill>
                  <a:schemeClr val="tx1"/>
                </a:solidFill>
                <a:effectLst/>
                <a:latin typeface="+mn-lt"/>
                <a:ea typeface="+mn-ea"/>
                <a:cs typeface="+mn-cs"/>
              </a:rPr>
              <a:t>2. Delivers integrated </a:t>
            </a:r>
            <a:r>
              <a:rPr lang="en-US" sz="1200" b="1" kern="1200" dirty="0">
                <a:solidFill>
                  <a:schemeClr val="tx1"/>
                </a:solidFill>
                <a:effectLst/>
                <a:latin typeface="+mn-lt"/>
                <a:ea typeface="+mn-ea"/>
                <a:cs typeface="+mn-cs"/>
              </a:rPr>
              <a:t>data and intelligence</a:t>
            </a:r>
            <a:r>
              <a:rPr lang="en-US" sz="1200" kern="1200" dirty="0">
                <a:solidFill>
                  <a:schemeClr val="tx1"/>
                </a:solidFill>
                <a:effectLst/>
                <a:latin typeface="+mn-lt"/>
                <a:ea typeface="+mn-ea"/>
                <a:cs typeface="+mn-cs"/>
              </a:rPr>
              <a:t>—data for rich insights to intelligence embedded within apps.</a:t>
            </a:r>
          </a:p>
          <a:p>
            <a:r>
              <a:rPr lang="en-US" sz="1200" kern="1200" dirty="0">
                <a:solidFill>
                  <a:schemeClr val="tx1"/>
                </a:solidFill>
                <a:effectLst/>
                <a:latin typeface="+mn-lt"/>
                <a:ea typeface="+mn-ea"/>
                <a:cs typeface="+mn-cs"/>
              </a:rPr>
              <a:t>3. Is </a:t>
            </a:r>
            <a:r>
              <a:rPr lang="en-US" sz="1200" b="1" kern="1200" dirty="0">
                <a:solidFill>
                  <a:schemeClr val="tx1"/>
                </a:solidFill>
                <a:effectLst/>
                <a:latin typeface="+mn-lt"/>
                <a:ea typeface="+mn-ea"/>
                <a:cs typeface="+mn-cs"/>
              </a:rPr>
              <a:t>open and hybrid</a:t>
            </a:r>
            <a:r>
              <a:rPr lang="en-US" sz="1200" kern="1200" dirty="0">
                <a:solidFill>
                  <a:schemeClr val="tx1"/>
                </a:solidFill>
                <a:effectLst/>
                <a:latin typeface="+mn-lt"/>
                <a:ea typeface="+mn-ea"/>
                <a:cs typeface="+mn-cs"/>
              </a:rPr>
              <a:t>, where you can use the tools and technologies you already have and want to use.</a:t>
            </a:r>
          </a:p>
          <a:p>
            <a:r>
              <a:rPr lang="en-US" sz="1200" kern="1200" dirty="0">
                <a:solidFill>
                  <a:schemeClr val="tx1"/>
                </a:solidFill>
                <a:effectLst/>
                <a:latin typeface="+mn-lt"/>
                <a:ea typeface="+mn-ea"/>
                <a:cs typeface="+mn-cs"/>
              </a:rPr>
              <a:t>4. Is </a:t>
            </a:r>
            <a:r>
              <a:rPr lang="en-US" sz="1200" b="1" kern="1200" dirty="0">
                <a:solidFill>
                  <a:schemeClr val="tx1"/>
                </a:solidFill>
                <a:effectLst/>
                <a:latin typeface="+mn-lt"/>
                <a:ea typeface="+mn-ea"/>
                <a:cs typeface="+mn-cs"/>
              </a:rPr>
              <a:t>trusted</a:t>
            </a:r>
            <a:r>
              <a:rPr lang="en-US" sz="1200" kern="1200" dirty="0">
                <a:solidFill>
                  <a:schemeClr val="tx1"/>
                </a:solidFill>
                <a:effectLst/>
                <a:latin typeface="+mn-lt"/>
                <a:ea typeface="+mn-ea"/>
                <a:cs typeface="+mn-cs"/>
              </a:rPr>
              <a:t> to </a:t>
            </a:r>
            <a:r>
              <a:rPr lang="en-US" sz="1200" b="0" kern="1200" dirty="0">
                <a:solidFill>
                  <a:schemeClr val="tx1"/>
                </a:solidFill>
                <a:effectLst/>
                <a:latin typeface="+mn-lt"/>
                <a:ea typeface="+mn-ea"/>
                <a:cs typeface="+mn-cs"/>
              </a:rPr>
              <a:t>protect your business assets</a:t>
            </a:r>
            <a:r>
              <a:rPr lang="en-US" sz="1200" kern="1200" dirty="0">
                <a:solidFill>
                  <a:schemeClr val="tx1"/>
                </a:solidFill>
                <a:effectLst/>
                <a:latin typeface="+mn-lt"/>
                <a:ea typeface="+mn-ea"/>
                <a:cs typeface="+mn-cs"/>
              </a:rPr>
              <a:t>. As more customers expect digital experiences, they expect the data they share with an organization to be protected. </a:t>
            </a:r>
            <a:endParaRPr lang="en-US"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984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rust is a topic we don’t take lightly. With Azure, as well as the broader Microsoft Cloud, we safeguard data and assets in the cloud with the security, compliance, privacy, and transparency require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285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0827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9.png"/><Relationship Id="rId39" Type="http://schemas.openxmlformats.org/officeDocument/2006/relationships/image" Target="../media/image62.png"/><Relationship Id="rId3" Type="http://schemas.openxmlformats.org/officeDocument/2006/relationships/image" Target="../media/image26.png"/><Relationship Id="rId21" Type="http://schemas.openxmlformats.org/officeDocument/2006/relationships/image" Target="../media/image44.png"/><Relationship Id="rId34" Type="http://schemas.openxmlformats.org/officeDocument/2006/relationships/image" Target="../media/image57.png"/><Relationship Id="rId42" Type="http://schemas.openxmlformats.org/officeDocument/2006/relationships/image" Target="../media/image65.png"/><Relationship Id="rId47" Type="http://schemas.openxmlformats.org/officeDocument/2006/relationships/image" Target="../media/image70.png"/><Relationship Id="rId50" Type="http://schemas.openxmlformats.org/officeDocument/2006/relationships/image" Target="../media/image73.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png"/><Relationship Id="rId33" Type="http://schemas.openxmlformats.org/officeDocument/2006/relationships/image" Target="../media/image56.png"/><Relationship Id="rId38" Type="http://schemas.openxmlformats.org/officeDocument/2006/relationships/image" Target="../media/image61.png"/><Relationship Id="rId46" Type="http://schemas.openxmlformats.org/officeDocument/2006/relationships/image" Target="../media/image69.png"/><Relationship Id="rId2" Type="http://schemas.openxmlformats.org/officeDocument/2006/relationships/image" Target="../media/image25.png"/><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52.png"/><Relationship Id="rId41" Type="http://schemas.openxmlformats.org/officeDocument/2006/relationships/image" Target="../media/image64.png"/><Relationship Id="rId1" Type="http://schemas.openxmlformats.org/officeDocument/2006/relationships/slideMaster" Target="../slideMasters/slideMaster8.xml"/><Relationship Id="rId6" Type="http://schemas.openxmlformats.org/officeDocument/2006/relationships/image" Target="../media/image29.pn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png"/><Relationship Id="rId37" Type="http://schemas.openxmlformats.org/officeDocument/2006/relationships/image" Target="../media/image60.png"/><Relationship Id="rId40" Type="http://schemas.openxmlformats.org/officeDocument/2006/relationships/image" Target="../media/image63.png"/><Relationship Id="rId45" Type="http://schemas.openxmlformats.org/officeDocument/2006/relationships/image" Target="../media/image68.png"/><Relationship Id="rId53" Type="http://schemas.openxmlformats.org/officeDocument/2006/relationships/image" Target="../media/image76.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9.png"/><Relationship Id="rId49" Type="http://schemas.openxmlformats.org/officeDocument/2006/relationships/image" Target="../media/image72.png"/><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image" Target="../media/image54.png"/><Relationship Id="rId44" Type="http://schemas.openxmlformats.org/officeDocument/2006/relationships/image" Target="../media/image67.png"/><Relationship Id="rId52" Type="http://schemas.openxmlformats.org/officeDocument/2006/relationships/image" Target="../media/image75.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8.png"/><Relationship Id="rId43" Type="http://schemas.openxmlformats.org/officeDocument/2006/relationships/image" Target="../media/image66.png"/><Relationship Id="rId48" Type="http://schemas.openxmlformats.org/officeDocument/2006/relationships/image" Target="../media/image71.png"/><Relationship Id="rId8" Type="http://schemas.openxmlformats.org/officeDocument/2006/relationships/image" Target="../media/image31.png"/><Relationship Id="rId51" Type="http://schemas.openxmlformats.org/officeDocument/2006/relationships/image" Target="../media/image7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3.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0.png"/><Relationship Id="rId1" Type="http://schemas.openxmlformats.org/officeDocument/2006/relationships/slideMaster" Target="../slideMasters/slideMaster9.xml"/><Relationship Id="rId4" Type="http://schemas.openxmlformats.org/officeDocument/2006/relationships/image" Target="../media/image18.png"/></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8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85.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5.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0.png"/><Relationship Id="rId1" Type="http://schemas.openxmlformats.org/officeDocument/2006/relationships/slideMaster" Target="../slideMasters/slideMaster10.xml"/><Relationship Id="rId4" Type="http://schemas.openxmlformats.org/officeDocument/2006/relationships/image" Target="../media/image18.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0.png"/><Relationship Id="rId1" Type="http://schemas.openxmlformats.org/officeDocument/2006/relationships/slideMaster" Target="../slideMasters/slideMaster10.xml"/><Relationship Id="rId4" Type="http://schemas.openxmlformats.org/officeDocument/2006/relationships/image" Target="../media/image18.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6.pn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1.xml"/><Relationship Id="rId4" Type="http://schemas.openxmlformats.org/officeDocument/2006/relationships/image" Target="../media/image1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5.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8.png"/><Relationship Id="rId1" Type="http://schemas.openxmlformats.org/officeDocument/2006/relationships/slideMaster" Target="../slideMasters/slideMaster12.xml"/><Relationship Id="rId4" Type="http://schemas.openxmlformats.org/officeDocument/2006/relationships/image" Target="../media/image16.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5.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 Id="rId4" Type="http://schemas.openxmlformats.org/officeDocument/2006/relationships/image" Target="../media/image1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3.xml"/><Relationship Id="rId4" Type="http://schemas.openxmlformats.org/officeDocument/2006/relationships/image" Target="../media/image19.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18.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18.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1.png"/><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9.emf"/><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Master" Target="../slideMasters/slideMaster14.xml"/><Relationship Id="rId4" Type="http://schemas.openxmlformats.org/officeDocument/2006/relationships/image" Target="../media/image8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jpeg"/><Relationship Id="rId1" Type="http://schemas.openxmlformats.org/officeDocument/2006/relationships/slideMaster" Target="../slideMasters/slideMaster15.xml"/><Relationship Id="rId5" Type="http://schemas.openxmlformats.org/officeDocument/2006/relationships/image" Target="../media/image97.png"/><Relationship Id="rId4" Type="http://schemas.openxmlformats.org/officeDocument/2006/relationships/image" Target="../media/image89.emf"/></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96.emf"/><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96.emf"/><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8.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9.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0.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1.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2.png"/><Relationship Id="rId1" Type="http://schemas.openxmlformats.org/officeDocument/2006/relationships/slideMaster" Target="../slideMasters/slideMaster15.xml"/><Relationship Id="rId5" Type="http://schemas.openxmlformats.org/officeDocument/2006/relationships/image" Target="../media/image89.emf"/><Relationship Id="rId4" Type="http://schemas.openxmlformats.org/officeDocument/2006/relationships/image" Target="../media/image96.emf"/></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3.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05.jpeg"/><Relationship Id="rId7" Type="http://schemas.openxmlformats.org/officeDocument/2006/relationships/image" Target="../media/image107.jpeg"/><Relationship Id="rId2" Type="http://schemas.openxmlformats.org/officeDocument/2006/relationships/image" Target="../media/image104.jpeg"/><Relationship Id="rId1" Type="http://schemas.openxmlformats.org/officeDocument/2006/relationships/slideMaster" Target="../slideMasters/slideMaster15.xml"/><Relationship Id="rId6" Type="http://schemas.openxmlformats.org/officeDocument/2006/relationships/image" Target="../media/image89.emf"/><Relationship Id="rId5" Type="http://schemas.openxmlformats.org/officeDocument/2006/relationships/image" Target="../media/image96.emf"/><Relationship Id="rId4" Type="http://schemas.openxmlformats.org/officeDocument/2006/relationships/image" Target="../media/image106.jpe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8.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9.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10.jpeg"/><Relationship Id="rId1" Type="http://schemas.openxmlformats.org/officeDocument/2006/relationships/slideMaster" Target="../slideMasters/slideMaster15.xml"/><Relationship Id="rId4" Type="http://schemas.openxmlformats.org/officeDocument/2006/relationships/image" Target="../media/image89.emf"/></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96.emf"/><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jpeg"/><Relationship Id="rId1" Type="http://schemas.openxmlformats.org/officeDocument/2006/relationships/slideMaster" Target="../slideMasters/slideMaster16.xml"/><Relationship Id="rId5" Type="http://schemas.openxmlformats.org/officeDocument/2006/relationships/image" Target="../media/image97.png"/><Relationship Id="rId4" Type="http://schemas.openxmlformats.org/officeDocument/2006/relationships/image" Target="../media/image89.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96.emf"/><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96.emf"/><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8.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9.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0.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1.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2.png"/><Relationship Id="rId1" Type="http://schemas.openxmlformats.org/officeDocument/2006/relationships/slideMaster" Target="../slideMasters/slideMaster16.xml"/><Relationship Id="rId5" Type="http://schemas.openxmlformats.org/officeDocument/2006/relationships/image" Target="../media/image89.emf"/><Relationship Id="rId4" Type="http://schemas.openxmlformats.org/officeDocument/2006/relationships/image" Target="../media/image96.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3.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4.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05.jpeg"/><Relationship Id="rId7" Type="http://schemas.openxmlformats.org/officeDocument/2006/relationships/image" Target="../media/image107.jpeg"/><Relationship Id="rId2" Type="http://schemas.openxmlformats.org/officeDocument/2006/relationships/image" Target="../media/image104.jpeg"/><Relationship Id="rId1" Type="http://schemas.openxmlformats.org/officeDocument/2006/relationships/slideMaster" Target="../slideMasters/slideMaster16.xml"/><Relationship Id="rId6" Type="http://schemas.openxmlformats.org/officeDocument/2006/relationships/image" Target="../media/image89.emf"/><Relationship Id="rId5" Type="http://schemas.openxmlformats.org/officeDocument/2006/relationships/image" Target="../media/image96.emf"/><Relationship Id="rId4" Type="http://schemas.openxmlformats.org/officeDocument/2006/relationships/image" Target="../media/image106.jpe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8.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09.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110.jpeg"/><Relationship Id="rId1" Type="http://schemas.openxmlformats.org/officeDocument/2006/relationships/slideMaster" Target="../slideMasters/slideMaster16.xml"/><Relationship Id="rId4" Type="http://schemas.openxmlformats.org/officeDocument/2006/relationships/image" Target="../media/image8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96.emf"/><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Master" Target="../slideMasters/slideMaster17.xml"/><Relationship Id="rId4" Type="http://schemas.openxmlformats.org/officeDocument/2006/relationships/image" Target="../media/image114.png"/></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6.jpeg"/><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jpeg"/><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9.jpeg"/><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Master" Target="../slideMasters/slideMaster19.xml"/><Relationship Id="rId4" Type="http://schemas.openxmlformats.org/officeDocument/2006/relationships/image" Target="../media/image89.emf"/></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0.xml"/><Relationship Id="rId4" Type="http://schemas.openxmlformats.org/officeDocument/2006/relationships/image" Target="../media/image19.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0.xml"/><Relationship Id="rId4" Type="http://schemas.openxmlformats.org/officeDocument/2006/relationships/image" Target="../media/image19.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20.xml"/><Relationship Id="rId4" Type="http://schemas.openxmlformats.org/officeDocument/2006/relationships/image" Target="../media/image18.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20.xml"/><Relationship Id="rId4" Type="http://schemas.openxmlformats.org/officeDocument/2006/relationships/image" Target="../media/image18.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0.xml"/><Relationship Id="rId4" Type="http://schemas.openxmlformats.org/officeDocument/2006/relationships/image" Target="../media/image16.png"/></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0.xml"/><Relationship Id="rId4" Type="http://schemas.openxmlformats.org/officeDocument/2006/relationships/image" Target="../media/image16.png"/></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0.xml"/><Relationship Id="rId4" Type="http://schemas.openxmlformats.org/officeDocument/2006/relationships/image" Target="../media/image16.png"/></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0.xml"/><Relationship Id="rId4" Type="http://schemas.openxmlformats.org/officeDocument/2006/relationships/image" Target="../media/image16.pn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0.xml"/><Relationship Id="rId4" Type="http://schemas.openxmlformats.org/officeDocument/2006/relationships/image" Target="../media/image16.png"/></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0.xml"/><Relationship Id="rId4" Type="http://schemas.openxmlformats.org/officeDocument/2006/relationships/image" Target="../media/image16.png"/></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1.png"/><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9.emf"/><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Master" Target="../slideMasters/slideMaster21.xml"/><Relationship Id="rId4" Type="http://schemas.openxmlformats.org/officeDocument/2006/relationships/image" Target="../media/image89.emf"/></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2.jpg"/><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25.jpeg"/><Relationship Id="rId1" Type="http://schemas.openxmlformats.org/officeDocument/2006/relationships/slideMaster" Target="../slideMasters/slideMaster22.xml"/><Relationship Id="rId4" Type="http://schemas.openxmlformats.org/officeDocument/2006/relationships/image" Target="../media/image89.emf"/></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3.xml"/><Relationship Id="rId4" Type="http://schemas.openxmlformats.org/officeDocument/2006/relationships/image" Target="../media/image128.png"/></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3.xml"/><Relationship Id="rId4" Type="http://schemas.openxmlformats.org/officeDocument/2006/relationships/image" Target="../media/image128.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8.png"/><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8.png"/><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8.png"/><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8.pn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9.pn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9.png"/><Relationship Id="rId1" Type="http://schemas.openxmlformats.org/officeDocument/2006/relationships/slideMaster" Target="../slideMasters/slideMaster23.xml"/><Relationship Id="rId4" Type="http://schemas.openxmlformats.org/officeDocument/2006/relationships/image" Target="../media/image18.png"/></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9.png"/><Relationship Id="rId1" Type="http://schemas.openxmlformats.org/officeDocument/2006/relationships/slideMaster" Target="../slideMasters/slideMaster23.xml"/><Relationship Id="rId4" Type="http://schemas.openxmlformats.org/officeDocument/2006/relationships/image" Target="../media/image1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Master" Target="../slideMasters/slideMaster23.xml"/><Relationship Id="rId4" Type="http://schemas.openxmlformats.org/officeDocument/2006/relationships/image" Target="../media/image127.pn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Master" Target="../slideMasters/slideMaster23.xml"/><Relationship Id="rId4" Type="http://schemas.openxmlformats.org/officeDocument/2006/relationships/image" Target="../media/image127.png"/></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Master" Target="../slideMasters/slideMaster23.xml"/><Relationship Id="rId4" Type="http://schemas.openxmlformats.org/officeDocument/2006/relationships/image" Target="../media/image127.pn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Master" Target="../slideMasters/slideMaster23.xml"/><Relationship Id="rId4" Type="http://schemas.openxmlformats.org/officeDocument/2006/relationships/image" Target="../media/image127.png"/></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Master" Target="../slideMasters/slideMaster23.xml"/><Relationship Id="rId4" Type="http://schemas.openxmlformats.org/officeDocument/2006/relationships/image" Target="../media/image127.png"/></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Master" Target="../slideMasters/slideMaster23.xml"/><Relationship Id="rId4" Type="http://schemas.openxmlformats.org/officeDocument/2006/relationships/image" Target="../media/image127.png"/></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2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2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2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3.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1.png"/><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4.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89.emf"/><Relationship Id="rId1" Type="http://schemas.openxmlformats.org/officeDocument/2006/relationships/slideMaster" Target="../slideMasters/slideMaster24.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25.jpeg"/><Relationship Id="rId1" Type="http://schemas.openxmlformats.org/officeDocument/2006/relationships/slideMaster" Target="../slideMasters/slideMaster24.xml"/><Relationship Id="rId4" Type="http://schemas.openxmlformats.org/officeDocument/2006/relationships/image" Target="../media/image89.emf"/></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31.jpeg"/><Relationship Id="rId1" Type="http://schemas.openxmlformats.org/officeDocument/2006/relationships/slideMaster" Target="../slideMasters/slideMaster2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32.jpg"/><Relationship Id="rId1" Type="http://schemas.openxmlformats.org/officeDocument/2006/relationships/slideMaster" Target="../slideMasters/slideMaster25.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133.jpeg"/><Relationship Id="rId1" Type="http://schemas.openxmlformats.org/officeDocument/2006/relationships/slideMaster" Target="../slideMasters/slideMaster25.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6.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2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Master" Target="../slideMasters/slideMaster26.xml"/><Relationship Id="rId4" Type="http://schemas.openxmlformats.org/officeDocument/2006/relationships/image" Target="../media/image89.emf"/></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12.jpg"/></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28.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2.jp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28.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Master" Target="../slideMasters/slideMaster28.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Master" Target="../slideMasters/slideMaster29.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Master" Target="../slideMasters/slideMaster29.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1586"/>
            <a:ext cx="12433300" cy="6993135"/>
          </a:xfrm>
          <a:prstGeom prst="rect">
            <a:avLst/>
          </a:prstGeom>
        </p:spPr>
      </p:pic>
      <p:sp>
        <p:nvSpPr>
          <p:cNvPr id="2" name="Rectangle 1"/>
          <p:cNvSpPr/>
          <p:nvPr userDrawn="1"/>
        </p:nvSpPr>
        <p:spPr bwMode="auto">
          <a:xfrm>
            <a:off x="274638" y="2125663"/>
            <a:ext cx="6400800" cy="3657600"/>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150099" y="479775"/>
            <a:ext cx="1828795"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268659108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3110189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18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331958336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marL="0" marR="0" lvl="0" indent="0" algn="l" defTabSz="950831" rtl="0"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a:t>Click to edit Master text styles</a:t>
            </a:r>
          </a:p>
        </p:txBody>
      </p:sp>
    </p:spTree>
    <p:extLst>
      <p:ext uri="{BB962C8B-B14F-4D97-AF65-F5344CB8AC3E}">
        <p14:creationId xmlns:p14="http://schemas.microsoft.com/office/powerpoint/2010/main" val="239584815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marL="0" marR="0" lvl="0" indent="0" algn="l" defTabSz="9318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Microsoft, Windows, Windows Vista and other product names are or may be registered trademarks and/or trademarks in the U.S. and/or other countries.</a:t>
            </a:r>
          </a:p>
          <a:p>
            <a:pPr marL="0" marR="0" lvl="0" indent="0" algn="l" defTabSz="9318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1026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13776430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5"/>
            <a:ext cx="11889564" cy="9175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3037121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32578052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pPr defTabSz="932597"/>
            <a:fld id="{0A164282-434E-41D4-9582-783D542A7B68}" type="slidenum">
              <a:rPr lang="en-US" sz="1836" smtClean="0"/>
              <a:pPr defTabSz="932597"/>
              <a:t>‹#›</a:t>
            </a:fld>
            <a:endParaRPr lang="en-US" sz="1836"/>
          </a:p>
        </p:txBody>
      </p:sp>
    </p:spTree>
    <p:extLst>
      <p:ext uri="{BB962C8B-B14F-4D97-AF65-F5344CB8AC3E}">
        <p14:creationId xmlns:p14="http://schemas.microsoft.com/office/powerpoint/2010/main" val="39214831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pPr defTabSz="932597"/>
            <a:fld id="{0A164282-434E-41D4-9582-783D542A7B68}" type="slidenum">
              <a:rPr lang="en-US" sz="1836" smtClean="0"/>
              <a:pPr defTabSz="932597"/>
              <a:t>‹#›</a:t>
            </a:fld>
            <a:endParaRPr lang="en-US" sz="1836"/>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0892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pPr defTabSz="932597"/>
            <a:fld id="{0A164282-434E-41D4-9582-783D542A7B68}" type="slidenum">
              <a:rPr lang="en-US" sz="1836" smtClean="0"/>
              <a:pPr defTabSz="932597"/>
              <a:t>‹#›</a:t>
            </a:fld>
            <a:endParaRPr lang="en-US" sz="1836"/>
          </a:p>
        </p:txBody>
      </p:sp>
    </p:spTree>
    <p:extLst>
      <p:ext uri="{BB962C8B-B14F-4D97-AF65-F5344CB8AC3E}">
        <p14:creationId xmlns:p14="http://schemas.microsoft.com/office/powerpoint/2010/main" val="13681604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pPr defTabSz="932597"/>
            <a:fld id="{0A164282-434E-41D4-9582-783D542A7B68}" type="slidenum">
              <a:rPr lang="en-US" sz="1836" smtClean="0"/>
              <a:pPr defTabSz="932597"/>
              <a:t>‹#›</a:t>
            </a:fld>
            <a:endParaRPr lang="en-US" sz="1836"/>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49712">
                <a:tc>
                  <a:txBody>
                    <a:bodyPr/>
                    <a:lstStyle/>
                    <a:p>
                      <a:r>
                        <a:rPr lang="en-US" sz="1600" dirty="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6484726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pPr defTabSz="932597"/>
            <a:fld id="{0A164282-434E-41D4-9582-783D542A7B68}" type="slidenum">
              <a:rPr lang="en-US" sz="1836" smtClean="0"/>
              <a:pPr defTabSz="932597"/>
              <a:t>‹#›</a:t>
            </a:fld>
            <a:endParaRPr lang="en-US" sz="1836"/>
          </a:p>
        </p:txBody>
      </p:sp>
    </p:spTree>
    <p:extLst>
      <p:ext uri="{BB962C8B-B14F-4D97-AF65-F5344CB8AC3E}">
        <p14:creationId xmlns:p14="http://schemas.microsoft.com/office/powerpoint/2010/main" val="8752385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32687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pPr defTabSz="932597"/>
            <a:fld id="{0A164282-434E-41D4-9582-783D542A7B68}" type="slidenum">
              <a:rPr lang="en-US" sz="1836" smtClean="0"/>
              <a:pPr defTabSz="932597"/>
              <a:t>‹#›</a:t>
            </a:fld>
            <a:endParaRPr lang="en-US" sz="1836"/>
          </a:p>
        </p:txBody>
      </p:sp>
    </p:spTree>
    <p:extLst>
      <p:ext uri="{BB962C8B-B14F-4D97-AF65-F5344CB8AC3E}">
        <p14:creationId xmlns:p14="http://schemas.microsoft.com/office/powerpoint/2010/main" val="266718599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9776" y="1144706"/>
            <a:ext cx="11749878" cy="2435131"/>
          </a:xfrm>
        </p:spPr>
        <p:txBody>
          <a:bodyPr anchor="b"/>
          <a:lstStyle>
            <a:lvl1pPr algn="ctr">
              <a:defRPr sz="6119"/>
            </a:lvl1pPr>
          </a:lstStyle>
          <a:p>
            <a:r>
              <a:rPr lang="en-US" dirty="0"/>
              <a:t>Click to edit Master title style</a:t>
            </a:r>
          </a:p>
        </p:txBody>
      </p:sp>
      <p:sp>
        <p:nvSpPr>
          <p:cNvPr id="3" name="Subtitle 2"/>
          <p:cNvSpPr>
            <a:spLocks noGrp="1"/>
          </p:cNvSpPr>
          <p:nvPr>
            <p:ph type="subTitle" idx="1"/>
          </p:nvPr>
        </p:nvSpPr>
        <p:spPr>
          <a:xfrm>
            <a:off x="349776" y="3673745"/>
            <a:ext cx="11749878"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18601578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5456" y="178102"/>
            <a:ext cx="12125563" cy="871077"/>
          </a:xfrm>
        </p:spPr>
        <p:txBody>
          <a:bodyPr/>
          <a:lstStyle/>
          <a:p>
            <a:r>
              <a:rPr lang="en-US"/>
              <a:t>Click to edit Master title style</a:t>
            </a:r>
          </a:p>
        </p:txBody>
      </p:sp>
      <p:sp>
        <p:nvSpPr>
          <p:cNvPr id="3" name="Text Placeholder 2"/>
          <p:cNvSpPr>
            <a:spLocks noGrp="1"/>
          </p:cNvSpPr>
          <p:nvPr>
            <p:ph idx="1"/>
          </p:nvPr>
        </p:nvSpPr>
        <p:spPr>
          <a:xfrm>
            <a:off x="155456" y="1049179"/>
            <a:ext cx="12125563" cy="5466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08983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5456" y="178102"/>
            <a:ext cx="12125563" cy="871077"/>
          </a:xfrm>
        </p:spPr>
        <p:txBody>
          <a:bodyPr/>
          <a:lstStyle/>
          <a:p>
            <a:r>
              <a:rPr lang="en-US"/>
              <a:t>Click to edit Master title style</a:t>
            </a:r>
          </a:p>
        </p:txBody>
      </p:sp>
    </p:spTree>
    <p:extLst>
      <p:ext uri="{BB962C8B-B14F-4D97-AF65-F5344CB8AC3E}">
        <p14:creationId xmlns:p14="http://schemas.microsoft.com/office/powerpoint/2010/main" val="12099491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06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55008" y="2821288"/>
            <a:ext cx="10726460" cy="1351952"/>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03839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8788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2332345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eaLnBrk="1" hangingPunct="1">
                <a:defRPr/>
              </a:pPr>
              <a:endParaRPr lang="en-US" sz="200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eaLnBrk="1" fontAlgn="auto" hangingPunct="1">
                <a:spcBef>
                  <a:spcPts val="0"/>
                </a:spcBef>
                <a:spcAft>
                  <a:spcPts val="0"/>
                </a:spcAft>
                <a:defRPr/>
              </a:pPr>
              <a:endParaRPr lang="en-US" sz="1836"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screen">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screen">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screen">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screen">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screen">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screen">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screen">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screen">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screen">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screen">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screen">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screen">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screen">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screen">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screen">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screen">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screen">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screen">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screen">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screen">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screen">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screen">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screen">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screen">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screen">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screen">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screen">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screen">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screen">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screen">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screen">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screen">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screen">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screen">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screen">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screen">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screen">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a:lnSpc>
                          <a:spcPct val="90000"/>
                        </a:lnSpc>
                        <a:spcBef>
                          <a:spcPts val="600"/>
                        </a:spcBef>
                        <a:defRPr/>
                      </a:pPr>
                      <a:r>
                        <a:rPr lang="en-US" sz="100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screen">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screen">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screen">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screen">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screen">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screen">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screen">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screen">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screen">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6584556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7500">
                      <a:schemeClr val="bg1"/>
                    </a:gs>
                    <a:gs pos="43000">
                      <a:schemeClr val="bg1"/>
                    </a:gs>
                  </a:gsLst>
                  <a:lin ang="5400000" scaled="0"/>
                </a:gradFill>
              </a:defRPr>
            </a:lvl1pPr>
            <a:lvl2pPr marL="685800" indent="-285750">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550" indent="228600">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Segoe UI"/>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99918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Segoe UI"/>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807546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Segoe UI"/>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sz="3200"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823241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4260401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296897"/>
            <a:ext cx="5943599" cy="1292662"/>
          </a:xfrm>
        </p:spPr>
        <p:txBody>
          <a:bodyPr/>
          <a:lstStyle>
            <a:lvl1pPr marL="0" indent="0">
              <a:buNone/>
              <a:defRPr sz="4000">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600" indent="0">
              <a:buNone/>
              <a:defRPr/>
            </a:lvl3pPr>
            <a:lvl4pPr marL="457200" indent="0">
              <a:buNone/>
              <a:defRPr/>
            </a:lvl4pPr>
            <a:lvl5pPr marL="685800"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51457366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61826880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53107538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7646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8" y="1212850"/>
            <a:ext cx="11887200" cy="683264"/>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82338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675304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445869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273354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4"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384153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8106369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54897705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76098123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1510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62307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24437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876055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7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6369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398188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305277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387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2193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689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eaLnBrk="1" hangingPunct="1"/>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632240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19"/>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3845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28338434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44401448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6813588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256270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36495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7" y="6251648"/>
            <a:ext cx="1278563" cy="274492"/>
            <a:chOff x="457200" y="1643393"/>
            <a:chExt cx="4492753" cy="96454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Semilight"/>
                <a:ea typeface="+mn-ea"/>
              </a:endParaRPr>
            </a:p>
          </p:txBody>
        </p:sp>
      </p:grpSp>
    </p:spTree>
    <p:extLst>
      <p:ext uri="{BB962C8B-B14F-4D97-AF65-F5344CB8AC3E}">
        <p14:creationId xmlns:p14="http://schemas.microsoft.com/office/powerpoint/2010/main" val="383131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668971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444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7002462"/>
          </a:xfrm>
          <a:prstGeom prst="rect">
            <a:avLst/>
          </a:prstGeom>
        </p:spPr>
      </p:pic>
    </p:spTree>
    <p:extLst>
      <p:ext uri="{BB962C8B-B14F-4D97-AF65-F5344CB8AC3E}">
        <p14:creationId xmlns:p14="http://schemas.microsoft.com/office/powerpoint/2010/main" val="188267545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rot="10800000" flipH="1" flipV="1">
            <a:off x="0" y="-7939"/>
            <a:ext cx="12436474" cy="4572001"/>
          </a:xfrm>
          <a:prstGeom prst="rect">
            <a:avLst/>
          </a:prstGeom>
        </p:spPr>
      </p:pic>
      <p:sp>
        <p:nvSpPr>
          <p:cNvPr id="7" name="Rectangle 6"/>
          <p:cNvSpPr/>
          <p:nvPr userDrawn="1"/>
        </p:nvSpPr>
        <p:spPr bwMode="auto">
          <a:xfrm>
            <a:off x="0" y="-7939"/>
            <a:ext cx="12436475" cy="457200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pPr>
            <a:endParaRPr lang="en-US" sz="2400" dirty="0" err="1">
              <a:solidFill>
                <a:srgbClr val="FFFFFF"/>
              </a:solidFill>
              <a:ea typeface="Segoe UI" pitchFamily="34" charset="0"/>
              <a:cs typeface="Segoe UI" pitchFamily="34" charset="0"/>
            </a:endParaRPr>
          </a:p>
        </p:txBody>
      </p:sp>
      <p:sp>
        <p:nvSpPr>
          <p:cNvPr id="4" name="Rectangle 3"/>
          <p:cNvSpPr/>
          <p:nvPr userDrawn="1"/>
        </p:nvSpPr>
        <p:spPr bwMode="auto">
          <a:xfrm>
            <a:off x="0" y="4564063"/>
            <a:ext cx="12436475" cy="1752599"/>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pPr>
            <a:endParaRPr lang="en-US" sz="24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525401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755142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629189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9180273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62386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945602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084912"/>
          </a:xfrm>
          <a:noFill/>
        </p:spPr>
        <p:txBody>
          <a:bodyPr tIns="91440" bIns="91440" anchor="t" anchorCtr="0">
            <a:spAutoFit/>
          </a:bodyPr>
          <a:lstStyle>
            <a:lvl1pPr>
              <a:defRPr sz="65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2708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20930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816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5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94382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072028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634904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3" name="Rectangle 2"/>
          <p:cNvSpPr/>
          <p:nvPr userDrawn="1"/>
        </p:nvSpPr>
        <p:spPr bwMode="auto">
          <a:xfrm>
            <a:off x="0" y="0"/>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5133007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88057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738664"/>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115262074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79653169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0" y="2873017"/>
            <a:ext cx="11255709" cy="2435131"/>
          </a:xfrm>
        </p:spPr>
        <p:txBody>
          <a:bodyPr anchor="b">
            <a:noAutofit/>
          </a:bodyPr>
          <a:lstStyle>
            <a:lvl1pPr algn="l">
              <a:defRPr sz="24376">
                <a:solidFill>
                  <a:schemeClr val="bg1"/>
                </a:solidFill>
              </a:defRPr>
            </a:lvl1pPr>
          </a:lstStyle>
          <a:p>
            <a:r>
              <a:rPr lang="en-US" dirty="0"/>
              <a:t>web</a:t>
            </a:r>
          </a:p>
        </p:txBody>
      </p:sp>
    </p:spTree>
    <p:extLst>
      <p:ext uri="{BB962C8B-B14F-4D97-AF65-F5344CB8AC3E}">
        <p14:creationId xmlns:p14="http://schemas.microsoft.com/office/powerpoint/2010/main" val="215310756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49295421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fontAlgn="auto">
              <a:lnSpc>
                <a:spcPts val="3060"/>
              </a:lnSpc>
              <a:spcBef>
                <a:spcPts val="0"/>
              </a:spcBef>
              <a:spcAft>
                <a:spcPts val="1223"/>
              </a:spcAft>
              <a:defRPr/>
            </a:pPr>
            <a:r>
              <a:rPr sz="2244" dirty="0">
                <a:solidFill>
                  <a:srgbClr val="FFFFFF"/>
                </a:solidFill>
              </a:rPr>
              <a:t>Presenter</a:t>
            </a: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8317150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80741562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6176046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567794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51481942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45240139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209711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19048118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84642799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9308967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spTree>
    <p:extLst>
      <p:ext uri="{BB962C8B-B14F-4D97-AF65-F5344CB8AC3E}">
        <p14:creationId xmlns:p14="http://schemas.microsoft.com/office/powerpoint/2010/main" val="38460847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356858491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33014387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835704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005148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872710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808330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842413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694775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fontAlgn="auto">
              <a:spcAft>
                <a:spcPts val="0"/>
              </a:spcAft>
            </a:pPr>
            <a:r>
              <a:rPr sz="4080">
                <a:solidFill>
                  <a:srgbClr val="0072C6"/>
                </a:solidFill>
              </a:rPr>
              <a:t>Subhead</a:t>
            </a: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295730968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25997609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0" y="485800"/>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249065947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039464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269999995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413110929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endParaRPr>
          </a:p>
        </p:txBody>
      </p:sp>
    </p:spTree>
    <p:extLst>
      <p:ext uri="{BB962C8B-B14F-4D97-AF65-F5344CB8AC3E}">
        <p14:creationId xmlns:p14="http://schemas.microsoft.com/office/powerpoint/2010/main" val="135086314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371036559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endParaRPr>
          </a:p>
        </p:txBody>
      </p:sp>
    </p:spTree>
    <p:extLst>
      <p:ext uri="{BB962C8B-B14F-4D97-AF65-F5344CB8AC3E}">
        <p14:creationId xmlns:p14="http://schemas.microsoft.com/office/powerpoint/2010/main" val="427340801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algn="ctr" defTabSz="950557" eaLnBrk="1" hangingPunct="1">
              <a:defRPr/>
            </a:pPr>
            <a:endParaRPr lang="en-US" sz="2288" kern="0" dirty="0">
              <a:gradFill>
                <a:gsLst>
                  <a:gs pos="0">
                    <a:srgbClr val="FFFFFF"/>
                  </a:gs>
                  <a:gs pos="100000">
                    <a:srgbClr val="FFFFFF"/>
                  </a:gs>
                </a:gsLst>
                <a:lin ang="5400000" scaled="0"/>
              </a:gradFill>
              <a:latin typeface="Segoe UI"/>
              <a:ea typeface="+mn-ea"/>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algn="ctr" defTabSz="950557" eaLnBrk="1" hangingPunct="1">
              <a:defRPr/>
            </a:pPr>
            <a:endParaRPr lang="en-US" sz="187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278832396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algn="ctr" defTabSz="950557" eaLnBrk="1" hangingPunct="1">
              <a:defRPr/>
            </a:pPr>
            <a:endParaRPr lang="en-US" sz="2288" kern="0" dirty="0">
              <a:gradFill>
                <a:gsLst>
                  <a:gs pos="0">
                    <a:srgbClr val="FFFFFF"/>
                  </a:gs>
                  <a:gs pos="100000">
                    <a:srgbClr val="FFFFFF"/>
                  </a:gs>
                </a:gsLst>
                <a:lin ang="5400000" scaled="0"/>
              </a:gradFill>
              <a:latin typeface="Segoe UI"/>
              <a:ea typeface="+mn-ea"/>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defTabSz="950831" eaLnBrk="1" fontAlgn="auto" hangingPunct="1">
              <a:spcBef>
                <a:spcPts val="0"/>
              </a:spcBef>
              <a:spcAft>
                <a:spcPts val="0"/>
              </a:spcAft>
              <a:defRPr/>
            </a:pPr>
            <a:endParaRPr lang="en-US" sz="1664" kern="0">
              <a:solidFill>
                <a:srgbClr val="292929"/>
              </a:solidFill>
              <a:latin typeface="Segoe UI"/>
              <a:ea typeface="+mn-ea"/>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a:t>Click to edit Master text styles</a:t>
            </a:r>
          </a:p>
        </p:txBody>
      </p:sp>
    </p:spTree>
    <p:extLst>
      <p:ext uri="{BB962C8B-B14F-4D97-AF65-F5344CB8AC3E}">
        <p14:creationId xmlns:p14="http://schemas.microsoft.com/office/powerpoint/2010/main" val="402251717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defTabSz="931832"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9469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131444315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582869"/>
            <a:ext cx="9143936" cy="1828786"/>
          </a:xfrm>
          <a:noFill/>
        </p:spPr>
        <p:txBody>
          <a:bodyPr lIns="146304" tIns="91440" rIns="146304" bIns="91440" anchor="ctr"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4870185"/>
            <a:ext cx="91439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03237" y="486696"/>
            <a:ext cx="1280160" cy="272872"/>
          </a:xfrm>
          <a:prstGeom prst="rect">
            <a:avLst/>
          </a:prstGeom>
        </p:spPr>
      </p:pic>
    </p:spTree>
    <p:extLst>
      <p:ext uri="{BB962C8B-B14F-4D97-AF65-F5344CB8AC3E}">
        <p14:creationId xmlns:p14="http://schemas.microsoft.com/office/powerpoint/2010/main" val="2704420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144941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24402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476391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312510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0291226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56327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471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084912"/>
          </a:xfrm>
          <a:noFill/>
        </p:spPr>
        <p:txBody>
          <a:bodyPr tIns="91440" bIns="91440" anchor="t" anchorCtr="0">
            <a:spAutoFit/>
          </a:bodyPr>
          <a:lstStyle>
            <a:lvl1pPr>
              <a:defRPr sz="65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8048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06408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747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084912"/>
          </a:xfrm>
          <a:noFill/>
        </p:spPr>
        <p:txBody>
          <a:bodyPr tIns="91440" bIns="91440" anchor="t" anchorCtr="0">
            <a:spAutoFit/>
          </a:bodyPr>
          <a:lstStyle>
            <a:lvl1pPr>
              <a:defRPr lang="en-US" sz="65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8239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48688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37035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48598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145693534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479015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34079397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409613128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344658543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3" y="6240429"/>
            <a:ext cx="1280587" cy="274320"/>
          </a:xfrm>
          <a:prstGeom prst="rect">
            <a:avLst/>
          </a:prstGeom>
        </p:spPr>
      </p:pic>
    </p:spTree>
    <p:extLst>
      <p:ext uri="{BB962C8B-B14F-4D97-AF65-F5344CB8AC3E}">
        <p14:creationId xmlns:p14="http://schemas.microsoft.com/office/powerpoint/2010/main" val="3086227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801521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141706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179628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646317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626434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3540057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1"/>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77" y="3497262"/>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7" y="4290790"/>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841962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1"/>
            <a:ext cx="7086439" cy="1015663"/>
          </a:xfrm>
          <a:noFill/>
        </p:spPr>
        <p:txBody>
          <a:bodyPr wrap="square"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2"/>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32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7894267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1586"/>
            <a:ext cx="12433300" cy="6993135"/>
          </a:xfrm>
          <a:prstGeom prst="rect">
            <a:avLst/>
          </a:prstGeom>
        </p:spPr>
      </p:pic>
      <p:sp>
        <p:nvSpPr>
          <p:cNvPr id="2" name="Rectangle 1"/>
          <p:cNvSpPr/>
          <p:nvPr userDrawn="1"/>
        </p:nvSpPr>
        <p:spPr bwMode="auto">
          <a:xfrm>
            <a:off x="274638" y="2125663"/>
            <a:ext cx="6400800" cy="3657600"/>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150099" y="479775"/>
            <a:ext cx="1828795" cy="391754"/>
          </a:xfrm>
          <a:prstGeom prst="rect">
            <a:avLst/>
          </a:prstGeom>
        </p:spPr>
      </p:pic>
    </p:spTree>
    <p:extLst>
      <p:ext uri="{BB962C8B-B14F-4D97-AF65-F5344CB8AC3E}">
        <p14:creationId xmlns:p14="http://schemas.microsoft.com/office/powerpoint/2010/main" val="224741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903678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680960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8882640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8891794"/>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105331382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17410675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4093524530"/>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333333"/>
              </a:solidFill>
              <a:latin typeface="Segoe UI"/>
              <a:ea typeface="+mn-ea"/>
            </a:endParaRPr>
          </a:p>
        </p:txBody>
      </p:sp>
    </p:spTree>
    <p:extLst>
      <p:ext uri="{BB962C8B-B14F-4D97-AF65-F5344CB8AC3E}">
        <p14:creationId xmlns:p14="http://schemas.microsoft.com/office/powerpoint/2010/main" val="10647142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21168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24293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0" y="479425"/>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71528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570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2434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182118586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4755836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pPr algn="r" defTabSz="932597" eaLnBrk="1" fontAlgn="auto" hangingPunct="1">
              <a:spcBef>
                <a:spcPts val="0"/>
              </a:spcBef>
              <a:spcAft>
                <a:spcPts val="0"/>
              </a:spcAft>
              <a:defRPr/>
            </a:pPr>
            <a:fld id="{0A164282-434E-41D4-9582-783D542A7B68}" type="slidenum">
              <a:rPr lang="en-US" sz="2040" smtClean="0">
                <a:solidFill>
                  <a:srgbClr val="289FD7"/>
                </a:solidFill>
                <a:latin typeface="Segoe UI Light"/>
                <a:ea typeface="+mn-ea"/>
              </a:rPr>
              <a:pPr algn="r" defTabSz="932597" eaLnBrk="1" fontAlgn="auto" hangingPunct="1">
                <a:spcBef>
                  <a:spcPts val="0"/>
                </a:spcBef>
                <a:spcAft>
                  <a:spcPts val="0"/>
                </a:spcAft>
                <a:defRPr/>
              </a:pPr>
              <a:t>‹#›</a:t>
            </a:fld>
            <a:endParaRPr lang="en-US" sz="2040">
              <a:solidFill>
                <a:srgbClr val="289FD7"/>
              </a:solidFill>
              <a:latin typeface="Segoe UI Light"/>
              <a:ea typeface="+mn-ea"/>
            </a:endParaRPr>
          </a:p>
        </p:txBody>
      </p:sp>
    </p:spTree>
    <p:extLst>
      <p:ext uri="{BB962C8B-B14F-4D97-AF65-F5344CB8AC3E}">
        <p14:creationId xmlns:p14="http://schemas.microsoft.com/office/powerpoint/2010/main" val="12599504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659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4008077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11822194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lang="en-US" sz="2244" dirty="0">
                <a:solidFill>
                  <a:srgbClr val="FFFFFF"/>
                </a:solidFill>
              </a:rPr>
              <a:t>Presenter</a:t>
            </a:r>
            <a:endParaRPr sz="2244" dirty="0">
              <a:solidFill>
                <a:srgbClr val="FFFFFF"/>
              </a:solidFill>
            </a:endParaRP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8264385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4276383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8932673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31498311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378105621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0672321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3547363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01156934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759498983"/>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748630193"/>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spTree>
    <p:extLst>
      <p:ext uri="{BB962C8B-B14F-4D97-AF65-F5344CB8AC3E}">
        <p14:creationId xmlns:p14="http://schemas.microsoft.com/office/powerpoint/2010/main" val="27347814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312181330"/>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406439733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6870338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7426108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425883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4055229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814573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818782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80" dirty="0">
                <a:solidFill>
                  <a:schemeClr val="tx2"/>
                </a:solidFill>
              </a:rPr>
              <a:t>Subhead</a:t>
            </a: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2005511596"/>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30000450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118955878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2763714"/>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38486012"/>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73002460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p>
        </p:txBody>
      </p:sp>
    </p:spTree>
    <p:extLst>
      <p:ext uri="{BB962C8B-B14F-4D97-AF65-F5344CB8AC3E}">
        <p14:creationId xmlns:p14="http://schemas.microsoft.com/office/powerpoint/2010/main" val="167017016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3197591151"/>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p>
        </p:txBody>
      </p:sp>
    </p:spTree>
    <p:extLst>
      <p:ext uri="{BB962C8B-B14F-4D97-AF65-F5344CB8AC3E}">
        <p14:creationId xmlns:p14="http://schemas.microsoft.com/office/powerpoint/2010/main" val="116579211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18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421961560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marL="0" marR="0" lvl="0" indent="0" defTabSz="950831"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a:t>Click to edit Master text styles</a:t>
            </a:r>
          </a:p>
        </p:txBody>
      </p:sp>
    </p:spTree>
    <p:extLst>
      <p:ext uri="{BB962C8B-B14F-4D97-AF65-F5344CB8AC3E}">
        <p14:creationId xmlns:p14="http://schemas.microsoft.com/office/powerpoint/2010/main" val="178118399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rgbClr val="FFFFFF"/>
              </a:solidFill>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31832"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2263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168992356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5"/>
            <a:ext cx="11889564" cy="9175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18901814"/>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523436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401069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208378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638929"/>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6853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64044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290766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30618076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7627649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132169374"/>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0087901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37933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0290546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6141347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951019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5751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030092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192250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0283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79198004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258926"/>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348368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136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16491067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282139166"/>
      </p:ext>
    </p:extLst>
  </p:cSld>
  <p:clrMapOvr>
    <a:masterClrMapping/>
  </p:clrMapOvr>
  <p:transition spd="slow">
    <p:push/>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6"/>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2"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28" tIns="109696" rIns="146262" bIns="109696"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60"/>
            <a:ext cx="4034254" cy="2129810"/>
          </a:xfrm>
          <a:prstGeom prst="rect">
            <a:avLst/>
          </a:prstGeom>
        </p:spPr>
      </p:pic>
      <p:sp>
        <p:nvSpPr>
          <p:cNvPr id="13" name="TextBox 2"/>
          <p:cNvSpPr txBox="1"/>
          <p:nvPr userDrawn="1"/>
        </p:nvSpPr>
        <p:spPr>
          <a:xfrm>
            <a:off x="274639" y="6158541"/>
            <a:ext cx="1299731" cy="995429"/>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04202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3" name="TextBox 2"/>
          <p:cNvSpPr txBox="1"/>
          <p:nvPr userDrawn="1"/>
        </p:nvSpPr>
        <p:spPr>
          <a:xfrm>
            <a:off x="10880398" y="274706"/>
            <a:ext cx="1299731" cy="63444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1" y="2125665"/>
            <a:ext cx="9824796" cy="3085503"/>
          </a:xfrm>
          <a:prstGeom prst="rect">
            <a:avLst/>
          </a:prstGeom>
          <a:noFill/>
        </p:spPr>
        <p:txBody>
          <a:bodyPr wrap="none" lIns="182828" tIns="146262" rIns="182828" bIns="146262" rtlCol="0">
            <a:spAutoFit/>
          </a:bodyPr>
          <a:lstStyle/>
          <a:p>
            <a:pPr>
              <a:lnSpc>
                <a:spcPct val="90000"/>
              </a:lnSpc>
              <a:spcAft>
                <a:spcPts val="600"/>
              </a:spcAft>
            </a:pPr>
            <a:r>
              <a:rPr lang="en-US" sz="9596"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6"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6"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55885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3" name="TextBox 2"/>
          <p:cNvSpPr txBox="1"/>
          <p:nvPr userDrawn="1"/>
        </p:nvSpPr>
        <p:spPr>
          <a:xfrm>
            <a:off x="10880398" y="274706"/>
            <a:ext cx="1299731" cy="63444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1" y="2125662"/>
            <a:ext cx="9824796" cy="1651226"/>
          </a:xfrm>
          <a:prstGeom prst="rect">
            <a:avLst/>
          </a:prstGeom>
          <a:noFill/>
        </p:spPr>
        <p:txBody>
          <a:bodyPr wrap="none" lIns="182828" tIns="146262" rIns="182828" bIns="146262" rtlCol="0">
            <a:spAutoFit/>
          </a:bodyPr>
          <a:lstStyle/>
          <a:p>
            <a:pPr>
              <a:lnSpc>
                <a:spcPct val="90000"/>
              </a:lnSpc>
              <a:spcAft>
                <a:spcPts val="600"/>
              </a:spcAft>
            </a:pPr>
            <a:r>
              <a:rPr lang="en-US" sz="9596"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3901600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Tree>
    <p:extLst>
      <p:ext uri="{BB962C8B-B14F-4D97-AF65-F5344CB8AC3E}">
        <p14:creationId xmlns:p14="http://schemas.microsoft.com/office/powerpoint/2010/main" val="2806480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3" name="TextBox 2"/>
          <p:cNvSpPr txBox="1"/>
          <p:nvPr userDrawn="1"/>
        </p:nvSpPr>
        <p:spPr>
          <a:xfrm>
            <a:off x="10880398" y="274706"/>
            <a:ext cx="1299731" cy="63444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1513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
            <a:ext cx="12436475" cy="6994526"/>
          </a:xfrm>
          <a:prstGeom prst="rect">
            <a:avLst/>
          </a:prstGeom>
        </p:spPr>
      </p:pic>
      <p:sp>
        <p:nvSpPr>
          <p:cNvPr id="4" name="Rectangle 3"/>
          <p:cNvSpPr/>
          <p:nvPr userDrawn="1"/>
        </p:nvSpPr>
        <p:spPr bwMode="auto">
          <a:xfrm>
            <a:off x="0" y="2"/>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0" name="TextBox 9"/>
          <p:cNvSpPr txBox="1"/>
          <p:nvPr userDrawn="1"/>
        </p:nvSpPr>
        <p:spPr>
          <a:xfrm>
            <a:off x="169599" y="1235326"/>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00325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2"/>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78607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3"/>
            <a:ext cx="12436475" cy="6994526"/>
          </a:xfrm>
          <a:prstGeom prst="rect">
            <a:avLst/>
          </a:prstGeom>
        </p:spPr>
      </p:pic>
      <p:sp>
        <p:nvSpPr>
          <p:cNvPr id="4" name="Rectangle 3"/>
          <p:cNvSpPr/>
          <p:nvPr userDrawn="1"/>
        </p:nvSpPr>
        <p:spPr bwMode="auto">
          <a:xfrm>
            <a:off x="0" y="2"/>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0" name="TextBox 9"/>
          <p:cNvSpPr txBox="1"/>
          <p:nvPr userDrawn="1"/>
        </p:nvSpPr>
        <p:spPr>
          <a:xfrm>
            <a:off x="169599" y="3102227"/>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21716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968114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94096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marL="0" algn="l" defTabSz="932384" rtl="0" eaLnBrk="1" latinLnBrk="0" hangingPunct="1">
              <a:lnSpc>
                <a:spcPct val="90000"/>
              </a:lnSpc>
              <a:spcAft>
                <a:spcPts val="600"/>
              </a:spcAft>
            </a:pPr>
            <a:r>
              <a:rPr lang="en-US" sz="7996"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355608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36897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3826504"/>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981020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96956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Tree>
    <p:extLst>
      <p:ext uri="{BB962C8B-B14F-4D97-AF65-F5344CB8AC3E}">
        <p14:creationId xmlns:p14="http://schemas.microsoft.com/office/powerpoint/2010/main" val="1322385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solidFill>
                  <a:schemeClr val="accent4"/>
                </a:soli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418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1682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32312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727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6287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347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accent4"/>
              </a:buClr>
              <a:buFont typeface="Arial" pitchFamily="34" charset="0"/>
              <a:buChar char="•"/>
              <a:defRPr sz="3198">
                <a:solidFill>
                  <a:schemeClr val="accent4"/>
                </a:soli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accent4"/>
              </a:buClr>
              <a:buFont typeface="Arial" pitchFamily="34" charset="0"/>
              <a:buChar char="•"/>
              <a:defRPr sz="3198">
                <a:solidFill>
                  <a:schemeClr val="accent4"/>
                </a:soli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06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233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3673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47395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4571278"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574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4571278"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19363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86276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5486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44382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528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781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41425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15474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97011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8"/>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332"/>
            <a:fld id="{FAADACFB-7C71-4E89-89D2-7BBA40B7BFA9}" type="slidenum">
              <a:rPr lang="en-US" smtClean="0">
                <a:solidFill>
                  <a:srgbClr val="505050"/>
                </a:solidFill>
              </a:rPr>
              <a:pPr defTabSz="1109332"/>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332"/>
            <a:endParaRPr lang="en-US" dirty="0">
              <a:solidFill>
                <a:srgbClr val="505050"/>
              </a:solidFill>
            </a:endParaRPr>
          </a:p>
        </p:txBody>
      </p:sp>
    </p:spTree>
    <p:extLst>
      <p:ext uri="{BB962C8B-B14F-4D97-AF65-F5344CB8AC3E}">
        <p14:creationId xmlns:p14="http://schemas.microsoft.com/office/powerpoint/2010/main" val="3662875881"/>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23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239"/>
            <a:fld id="{27258FFF-F925-446B-8502-81C933981705}" type="slidenum">
              <a:rPr lang="en-US" smtClean="0">
                <a:solidFill>
                  <a:srgbClr val="505050"/>
                </a:solidFill>
              </a:rPr>
              <a:pPr defTabSz="932239"/>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7"/>
              </a:spcBef>
              <a:spcAft>
                <a:spcPts val="2400"/>
              </a:spcAft>
              <a:buFontTx/>
              <a:buNone/>
              <a:defRPr lang="en-US" sz="5197" b="0" i="0" kern="1200" spc="0" baseline="0" dirty="0" smtClean="0">
                <a:solidFill>
                  <a:schemeClr val="tx2"/>
                </a:solidFill>
                <a:latin typeface="+mj-lt"/>
                <a:ea typeface="+mn-ea"/>
                <a:cs typeface="+mn-cs"/>
              </a:defRPr>
            </a:lvl1pPr>
          </a:lstStyle>
          <a:p>
            <a:pPr marL="0" marR="0" lvl="0" indent="0" algn="l" defTabSz="932205" rtl="0" eaLnBrk="1" fontAlgn="auto" latinLnBrk="0" hangingPunct="1">
              <a:lnSpc>
                <a:spcPct val="90000"/>
              </a:lnSpc>
              <a:spcBef>
                <a:spcPts val="1197"/>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1" y="1139828"/>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868858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801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71998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825714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99065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02217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378965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99367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26951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29388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51840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08577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689021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63099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833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664000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7709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9826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492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7295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8717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57676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01960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197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46094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136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7842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78691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0364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0468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801312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66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525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4631205"/>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728812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09872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47801192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437768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 y="-318"/>
            <a:ext cx="12435840" cy="6995160"/>
          </a:xfrm>
          <a:prstGeom prst="rect">
            <a:avLst/>
          </a:prstGeom>
        </p:spPr>
      </p:pic>
      <p:sp>
        <p:nvSpPr>
          <p:cNvPr id="10" name="Rectangle 9"/>
          <p:cNvSpPr/>
          <p:nvPr userDrawn="1"/>
        </p:nvSpPr>
        <p:spPr bwMode="auto">
          <a:xfrm>
            <a:off x="-2" y="-1"/>
            <a:ext cx="3932239" cy="69945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7" name="TextBox 6"/>
          <p:cNvSpPr txBox="1"/>
          <p:nvPr userDrawn="1"/>
        </p:nvSpPr>
        <p:spPr>
          <a:xfrm>
            <a:off x="289152" y="4634533"/>
            <a:ext cx="3643086" cy="738664"/>
          </a:xfrm>
          <a:prstGeom prst="rect">
            <a:avLst/>
          </a:prstGeom>
          <a:noFill/>
        </p:spPr>
        <p:txBody>
          <a:bodyPr wrap="square" lIns="182880" tIns="146304" rIns="182880" bIns="146304" rtlCol="0" anchor="b">
            <a:spAutoFit/>
          </a:bodyPr>
          <a:lstStyle/>
          <a:p>
            <a:pPr>
              <a:lnSpc>
                <a:spcPct val="90000"/>
              </a:lnSpc>
              <a:spcAft>
                <a:spcPts val="600"/>
              </a:spcAft>
            </a:pPr>
            <a:r>
              <a:rPr lang="en-US" sz="3000" dirty="0">
                <a:gradFill>
                  <a:gsLst>
                    <a:gs pos="0">
                      <a:srgbClr val="FFFFFF"/>
                    </a:gs>
                    <a:gs pos="100000">
                      <a:srgbClr val="FFFFFF"/>
                    </a:gs>
                  </a:gsLst>
                  <a:lin ang="5400000" scaled="0"/>
                </a:gradFill>
                <a:latin typeface="Segoe UI Light"/>
              </a:rPr>
              <a:t>3–5 February 2015</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035" y="492120"/>
            <a:ext cx="2601068" cy="3828093"/>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81035" y="6182440"/>
            <a:ext cx="1552931" cy="332660"/>
          </a:xfrm>
          <a:prstGeom prst="rect">
            <a:avLst/>
          </a:prstGeom>
        </p:spPr>
      </p:pic>
    </p:spTree>
    <p:extLst>
      <p:ext uri="{BB962C8B-B14F-4D97-AF65-F5344CB8AC3E}">
        <p14:creationId xmlns:p14="http://schemas.microsoft.com/office/powerpoint/2010/main" val="74050404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Tiled">
    <p:bg>
      <p:bgPr>
        <a:solidFill>
          <a:schemeClr val="accent1"/>
        </a:solidFill>
        <a:effectLst/>
      </p:bgPr>
    </p:bg>
    <p:spTree>
      <p:nvGrpSpPr>
        <p:cNvPr id="1" name=""/>
        <p:cNvGrpSpPr/>
        <p:nvPr/>
      </p:nvGrpSpPr>
      <p:grpSpPr>
        <a:xfrm>
          <a:off x="0" y="0"/>
          <a:ext cx="0" cy="0"/>
          <a:chOff x="0" y="0"/>
          <a:chExt cx="0" cy="0"/>
        </a:xfrm>
      </p:grpSpPr>
      <p:sp>
        <p:nvSpPr>
          <p:cNvPr id="18" name="Rectangle 17"/>
          <p:cNvSpPr/>
          <p:nvPr userDrawn="1"/>
        </p:nvSpPr>
        <p:spPr bwMode="gray">
          <a:xfrm>
            <a:off x="274638" y="2125664"/>
            <a:ext cx="9144000" cy="36576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3"/>
            <a:ext cx="9145588" cy="1839543"/>
          </a:xfrm>
          <a:noFill/>
        </p:spPr>
        <p:txBody>
          <a:bodyPr vert="horz" wrap="square" lIns="146304" tIns="91440" rIns="146304" bIns="91440" rtlCol="0" anchor="t" anchorCtr="0">
            <a:noAutofit/>
          </a:bodyPr>
          <a:lstStyle>
            <a:lvl1pPr>
              <a:defRPr lang="en-US" sz="5400" spc="-100" baseline="0" dirty="0">
                <a:gradFill>
                  <a:gsLst>
                    <a:gs pos="5833">
                      <a:schemeClr val="tx1"/>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3965206"/>
            <a:ext cx="9144000" cy="1818057"/>
          </a:xfrm>
        </p:spPr>
        <p:txBody>
          <a:bodyPr tIns="109728" bIns="109728">
            <a:noAutofit/>
          </a:bodyPr>
          <a:lstStyle>
            <a:lvl1pPr marL="0" indent="0">
              <a:spcBef>
                <a:spcPts val="0"/>
              </a:spcBef>
              <a:buNone/>
              <a:defRPr sz="2800">
                <a:gradFill>
                  <a:gsLst>
                    <a:gs pos="1250">
                      <a:srgbClr val="FFFFFF"/>
                    </a:gs>
                    <a:gs pos="99000">
                      <a:srgbClr val="FFFFFF"/>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8509626" y="296863"/>
            <a:ext cx="3657600" cy="640080"/>
          </a:xfrm>
        </p:spPr>
        <p:txBody>
          <a:bodyPr lIns="182880" tIns="146304" rIns="182880" bIns="146304"/>
          <a:lstStyle>
            <a:lvl1pPr marL="0" indent="0" algn="r">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a:t>Session code her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7201" y="483423"/>
            <a:ext cx="1552928" cy="331014"/>
          </a:xfrm>
          <a:prstGeom prst="rect">
            <a:avLst/>
          </a:prstGeom>
        </p:spPr>
      </p:pic>
    </p:spTree>
    <p:extLst>
      <p:ext uri="{BB962C8B-B14F-4D97-AF65-F5344CB8AC3E}">
        <p14:creationId xmlns:p14="http://schemas.microsoft.com/office/powerpoint/2010/main" val="3901163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 Dark">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73050" y="2125663"/>
            <a:ext cx="10059988" cy="1839543"/>
          </a:xfrm>
          <a:noFill/>
        </p:spPr>
        <p:txBody>
          <a:bodyPr vert="horz" wrap="square" lIns="146304" tIns="91440" rIns="146304" bIns="91440" rtlCol="0" anchor="t" anchorCtr="0">
            <a:noAutofit/>
          </a:bodyPr>
          <a:lstStyle>
            <a:lvl1pPr>
              <a:defRPr lang="en-US" sz="5400" spc="-100" baseline="0" dirty="0">
                <a:gradFill>
                  <a:gsLst>
                    <a:gs pos="100000">
                      <a:schemeClr val="tx1"/>
                    </a:gs>
                    <a:gs pos="0">
                      <a:schemeClr val="tx1"/>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3965206"/>
            <a:ext cx="6400800" cy="1818057"/>
          </a:xfrm>
        </p:spPr>
        <p:txBody>
          <a:bodyPr tIns="109728" bIns="109728">
            <a:noAutofit/>
          </a:bodyPr>
          <a:lstStyle>
            <a:lvl1pPr marL="0" indent="0">
              <a:spcBef>
                <a:spcPts val="0"/>
              </a:spcBef>
              <a:buNone/>
              <a:defRPr sz="2800">
                <a:gradFill>
                  <a:gsLst>
                    <a:gs pos="100000">
                      <a:schemeClr val="tx1"/>
                    </a:gs>
                    <a:gs pos="0">
                      <a:schemeClr val="tx1"/>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8509626" y="296863"/>
            <a:ext cx="3657600" cy="640080"/>
          </a:xfrm>
        </p:spPr>
        <p:txBody>
          <a:bodyPr lIns="182880" tIns="146304" rIns="182880" bIns="146304"/>
          <a:lstStyle>
            <a:lvl1pPr marL="0" indent="0" algn="r">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a:t>Session code her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7201" y="483423"/>
            <a:ext cx="1552928" cy="331014"/>
          </a:xfrm>
          <a:prstGeom prst="rect">
            <a:avLst/>
          </a:prstGeom>
        </p:spPr>
      </p:pic>
    </p:spTree>
    <p:extLst>
      <p:ext uri="{BB962C8B-B14F-4D97-AF65-F5344CB8AC3E}">
        <p14:creationId xmlns:p14="http://schemas.microsoft.com/office/powerpoint/2010/main" val="1331963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18" name="Rectangle 17"/>
          <p:cNvSpPr/>
          <p:nvPr userDrawn="1"/>
        </p:nvSpPr>
        <p:spPr bwMode="gray">
          <a:xfrm>
            <a:off x="274638" y="1211263"/>
            <a:ext cx="7315200" cy="4572001"/>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1211263"/>
            <a:ext cx="7316788" cy="2753943"/>
          </a:xfrm>
          <a:noFill/>
        </p:spPr>
        <p:txBody>
          <a:bodyPr vert="horz" wrap="square" lIns="146304" tIns="91440" rIns="146304" bIns="91440" rtlCol="0" anchor="t" anchorCtr="0">
            <a:noAutofit/>
          </a:bodyPr>
          <a:lstStyle>
            <a:lvl1pPr>
              <a:defRPr lang="en-US" sz="5400" spc="-100" baseline="0" dirty="0">
                <a:gradFill>
                  <a:gsLst>
                    <a:gs pos="5833">
                      <a:schemeClr val="tx1"/>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3965206"/>
            <a:ext cx="7315200" cy="1818057"/>
          </a:xfrm>
        </p:spPr>
        <p:txBody>
          <a:bodyPr tIns="109728" bIns="109728">
            <a:noAutofit/>
          </a:bodyPr>
          <a:lstStyle>
            <a:lvl1pPr marL="0" indent="0">
              <a:spcBef>
                <a:spcPts val="0"/>
              </a:spcBef>
              <a:buNone/>
              <a:defRPr sz="2800">
                <a:gradFill>
                  <a:gsLst>
                    <a:gs pos="1250">
                      <a:srgbClr val="FFFFFF"/>
                    </a:gs>
                    <a:gs pos="99000">
                      <a:srgbClr val="FFFFFF"/>
                    </a:gs>
                  </a:gsLst>
                  <a:lin ang="5400000" scaled="0"/>
                </a:gradFill>
              </a:defRPr>
            </a:lvl1pPr>
          </a:lstStyle>
          <a:p>
            <a:pPr lvl="0"/>
            <a:r>
              <a:rPr lang="en-US" dirty="0"/>
              <a:t>Speaker Name</a:t>
            </a:r>
          </a:p>
        </p:txBody>
      </p:sp>
      <p:sp>
        <p:nvSpPr>
          <p:cNvPr id="5" name="Text Placeholder 4"/>
          <p:cNvSpPr>
            <a:spLocks noGrp="1"/>
          </p:cNvSpPr>
          <p:nvPr>
            <p:ph type="body" sz="quarter" idx="15" hasCustomPrompt="1"/>
          </p:nvPr>
        </p:nvSpPr>
        <p:spPr>
          <a:xfrm>
            <a:off x="279256" y="296863"/>
            <a:ext cx="3657600" cy="640080"/>
          </a:xfrm>
        </p:spPr>
        <p:txBody>
          <a:bodyPr lIns="182880" tIns="146304" rIns="182880" bIns="146304"/>
          <a:lstStyle>
            <a:lvl1pPr marL="0" indent="0" algn="l">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a:t>Session code her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427835" y="483423"/>
            <a:ext cx="1552928" cy="331014"/>
          </a:xfrm>
          <a:prstGeom prst="rect">
            <a:avLst/>
          </a:prstGeom>
        </p:spPr>
      </p:pic>
    </p:spTree>
    <p:extLst>
      <p:ext uri="{BB962C8B-B14F-4D97-AF65-F5344CB8AC3E}">
        <p14:creationId xmlns:p14="http://schemas.microsoft.com/office/powerpoint/2010/main" val="27819369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9" name="Rectangle 8"/>
          <p:cNvSpPr/>
          <p:nvPr userDrawn="1"/>
        </p:nvSpPr>
        <p:spPr bwMode="ltGray">
          <a:xfrm>
            <a:off x="274638" y="1211287"/>
            <a:ext cx="10058400"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100000">
                      <a:srgbClr val="FFFFFF"/>
                    </a:gs>
                    <a:gs pos="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0" cy="1828800"/>
          </a:xfrm>
          <a:noFill/>
        </p:spPr>
        <p:txBody>
          <a:bodyPr lIns="182880" tIns="146304" rIns="182880" bIns="146304">
            <a:noAutofit/>
          </a:bodyPr>
          <a:lstStyle>
            <a:lvl1pPr marL="0" indent="0">
              <a:spcBef>
                <a:spcPts val="0"/>
              </a:spcBef>
              <a:buNone/>
              <a:defRPr sz="3200" spc="0" baseline="0">
                <a:gradFill>
                  <a:gsLst>
                    <a:gs pos="100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80736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mo slide Dark">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98425">
                      <a:schemeClr val="tx1"/>
                    </a:gs>
                    <a:gs pos="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0" cy="1828800"/>
          </a:xfrm>
          <a:noFill/>
        </p:spPr>
        <p:txBody>
          <a:bodyPr lIns="182880" tIns="146304" rIns="182880" bIns="146304">
            <a:noAutofit/>
          </a:bodyPr>
          <a:lstStyle>
            <a:lvl1pPr marL="0" indent="0">
              <a:spcBef>
                <a:spcPts val="0"/>
              </a:spcBef>
              <a:buNone/>
              <a:defRPr sz="3200" spc="0" baseline="0">
                <a:gradFill>
                  <a:gsLst>
                    <a:gs pos="100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816988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9" name="Rectangle 8"/>
          <p:cNvSpPr/>
          <p:nvPr userDrawn="1"/>
        </p:nvSpPr>
        <p:spPr bwMode="ltGray">
          <a:xfrm>
            <a:off x="274638" y="1211287"/>
            <a:ext cx="10058400"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100000">
                      <a:srgbClr val="FFFFFF"/>
                    </a:gs>
                    <a:gs pos="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98383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Video slide Dark">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8400" cy="2744490"/>
          </a:xfrm>
          <a:noFill/>
        </p:spPr>
        <p:txBody>
          <a:bodyPr tIns="91440" bIns="91440" anchor="t" anchorCtr="0"/>
          <a:lstStyle>
            <a:lvl1pPr>
              <a:defRPr sz="6600" spc="-100" baseline="0">
                <a:gradFill>
                  <a:gsLst>
                    <a:gs pos="98425">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05847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64378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2266569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31500190"/>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6480262"/>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873265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231255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371603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558408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81149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3469715"/>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62434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5075702"/>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74276692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947076065"/>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5815131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85904593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79341580"/>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215325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49619678"/>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1216"/>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57473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739702"/>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380189"/>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45932"/>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40099428"/>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350327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6475" cy="6994525"/>
          </a:xfrm>
          <a:prstGeom prst="rect">
            <a:avLst/>
          </a:prstGeom>
        </p:spPr>
      </p:pic>
      <p:sp>
        <p:nvSpPr>
          <p:cNvPr id="2" name="Rectangle 1"/>
          <p:cNvSpPr/>
          <p:nvPr userDrawn="1"/>
        </p:nvSpPr>
        <p:spPr bwMode="auto">
          <a:xfrm>
            <a:off x="271398" y="2125664"/>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672" y="6149340"/>
            <a:ext cx="1706819" cy="376026"/>
          </a:xfrm>
          <a:prstGeom prst="rect">
            <a:avLst/>
          </a:prstGeom>
        </p:spPr>
      </p:pic>
    </p:spTree>
    <p:extLst>
      <p:ext uri="{BB962C8B-B14F-4D97-AF65-F5344CB8AC3E}">
        <p14:creationId xmlns:p14="http://schemas.microsoft.com/office/powerpoint/2010/main" val="409732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447741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89231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820338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7315181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93713050"/>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586364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800728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56430475"/>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17391337"/>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17094428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097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34283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841384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20347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7346466"/>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773224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658579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90640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2761344"/>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804492"/>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870524"/>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299124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446787446"/>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331405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1" y="0"/>
            <a:ext cx="12436475" cy="6995517"/>
          </a:xfrm>
          <a:prstGeom prst="rect">
            <a:avLst/>
          </a:prstGeom>
        </p:spPr>
      </p:pic>
      <p:sp>
        <p:nvSpPr>
          <p:cNvPr id="2" name="Rectangle 1"/>
          <p:cNvSpPr/>
          <p:nvPr userDrawn="1"/>
        </p:nvSpPr>
        <p:spPr bwMode="auto">
          <a:xfrm>
            <a:off x="271398" y="2125677"/>
            <a:ext cx="6404040" cy="3657586"/>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62101"/>
            <a:ext cx="1646238" cy="352647"/>
          </a:xfrm>
          <a:prstGeom prst="rect">
            <a:avLst/>
          </a:prstGeom>
        </p:spPr>
      </p:pic>
    </p:spTree>
    <p:extLst>
      <p:ext uri="{BB962C8B-B14F-4D97-AF65-F5344CB8AC3E}">
        <p14:creationId xmlns:p14="http://schemas.microsoft.com/office/powerpoint/2010/main" val="215461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t="-1"/>
          <a:stretch/>
        </p:blipFill>
        <p:spPr>
          <a:xfrm>
            <a:off x="-7344" y="1"/>
            <a:ext cx="12443819" cy="5265169"/>
          </a:xfrm>
          <a:prstGeom prst="rect">
            <a:avLst/>
          </a:prstGeom>
        </p:spPr>
      </p:pic>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03693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1586"/>
            <a:ext cx="12433300" cy="6993135"/>
          </a:xfrm>
          <a:prstGeom prst="rect">
            <a:avLst/>
          </a:prstGeom>
        </p:spPr>
      </p:pic>
      <p:sp>
        <p:nvSpPr>
          <p:cNvPr id="2" name="Rectangle 1"/>
          <p:cNvSpPr/>
          <p:nvPr userDrawn="1"/>
        </p:nvSpPr>
        <p:spPr bwMode="auto">
          <a:xfrm>
            <a:off x="274638" y="2125663"/>
            <a:ext cx="6400800" cy="3657600"/>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150099" y="479775"/>
            <a:ext cx="1828795" cy="391754"/>
          </a:xfrm>
          <a:prstGeom prst="rect">
            <a:avLst/>
          </a:prstGeom>
        </p:spPr>
      </p:pic>
    </p:spTree>
    <p:extLst>
      <p:ext uri="{BB962C8B-B14F-4D97-AF65-F5344CB8AC3E}">
        <p14:creationId xmlns:p14="http://schemas.microsoft.com/office/powerpoint/2010/main" val="131322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0" y="479425"/>
            <a:ext cx="1828800" cy="393896"/>
          </a:xfrm>
          <a:prstGeom prst="rect">
            <a:avLst/>
          </a:prstGeom>
        </p:spPr>
      </p:pic>
    </p:spTree>
    <p:extLst>
      <p:ext uri="{BB962C8B-B14F-4D97-AF65-F5344CB8AC3E}">
        <p14:creationId xmlns:p14="http://schemas.microsoft.com/office/powerpoint/2010/main" val="378095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974152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1082775"/>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2511504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6992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29563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69309358"/>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91852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0" y="479775"/>
            <a:ext cx="1828800" cy="393896"/>
          </a:xfrm>
          <a:prstGeom prst="rect">
            <a:avLst/>
          </a:prstGeom>
        </p:spPr>
      </p:pic>
    </p:spTree>
    <p:extLst>
      <p:ext uri="{BB962C8B-B14F-4D97-AF65-F5344CB8AC3E}">
        <p14:creationId xmlns:p14="http://schemas.microsoft.com/office/powerpoint/2010/main" val="677810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4036119"/>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0859033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76361332"/>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7359203"/>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206024"/>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81729"/>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1804837"/>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53482519"/>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56268975"/>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280" y="3168586"/>
            <a:ext cx="11378776" cy="1017048"/>
          </a:xfrm>
        </p:spPr>
        <p:txBody>
          <a:bodyPr anchor="b" anchorCtr="0"/>
          <a:lstStyle>
            <a:lvl1pPr>
              <a:defRPr sz="7338" spc="-154"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31280" y="4749134"/>
            <a:ext cx="11378776"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104053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820999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133124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lang="en-US" sz="2244" dirty="0">
                <a:solidFill>
                  <a:srgbClr val="FFFFFF"/>
                </a:solidFill>
              </a:rPr>
              <a:t>Presenter</a:t>
            </a:r>
            <a:endParaRPr sz="2244" dirty="0">
              <a:solidFill>
                <a:srgbClr val="FFFFFF"/>
              </a:solidFill>
            </a:endParaRP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96487463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820228896"/>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051539209"/>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405841895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180649672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816606796"/>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249585890"/>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20703843"/>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spTree>
    <p:extLst>
      <p:ext uri="{BB962C8B-B14F-4D97-AF65-F5344CB8AC3E}">
        <p14:creationId xmlns:p14="http://schemas.microsoft.com/office/powerpoint/2010/main" val="14488615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0096349"/>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1521549058"/>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3491828577"/>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833876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2745034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2723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12683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491232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100414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80" dirty="0">
                <a:solidFill>
                  <a:schemeClr val="tx2"/>
                </a:solidFill>
              </a:rPr>
              <a:t>Subhead</a:t>
            </a: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137160329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1308130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377960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382660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421024631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124736309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p>
        </p:txBody>
      </p:sp>
    </p:spTree>
    <p:extLst>
      <p:ext uri="{BB962C8B-B14F-4D97-AF65-F5344CB8AC3E}">
        <p14:creationId xmlns:p14="http://schemas.microsoft.com/office/powerpoint/2010/main" val="3469872981"/>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266295382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p>
        </p:txBody>
      </p:sp>
    </p:spTree>
    <p:extLst>
      <p:ext uri="{BB962C8B-B14F-4D97-AF65-F5344CB8AC3E}">
        <p14:creationId xmlns:p14="http://schemas.microsoft.com/office/powerpoint/2010/main" val="2428864179"/>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marL="0" marR="0" lvl="0" indent="0" defTabSz="950831"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a:t>Click to edit Master text styles</a:t>
            </a:r>
          </a:p>
        </p:txBody>
      </p:sp>
    </p:spTree>
    <p:extLst>
      <p:ext uri="{BB962C8B-B14F-4D97-AF65-F5344CB8AC3E}">
        <p14:creationId xmlns:p14="http://schemas.microsoft.com/office/powerpoint/2010/main" val="401705385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rgbClr val="FFFFFF"/>
              </a:solidFill>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31832"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153262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14546271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5"/>
            <a:ext cx="11889564" cy="9175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0468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3877714"/>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7" y="4395790"/>
            <a:ext cx="12433300" cy="2601913"/>
          </a:xfrm>
          <a:prstGeom prst="rect">
            <a:avLst/>
          </a:prstGeom>
          <a:solidFill>
            <a:srgbClr val="4DA0E2"/>
          </a:solidFill>
          <a:ln>
            <a:noFill/>
          </a:ln>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843588"/>
            <a:ext cx="12433301" cy="1154113"/>
          </a:xfrm>
          <a:prstGeom prst="rect">
            <a:avLst/>
          </a:prstGeom>
          <a:solidFill>
            <a:srgbClr val="00188F"/>
          </a:solidFill>
          <a:ln>
            <a:noFill/>
          </a:ln>
          <a:extLst/>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7" y="3409952"/>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4" rIns="182781" bIns="146224" numCol="1" spcCol="0" rtlCol="0" fromWordArt="0" anchor="t" anchorCtr="0" forceAA="0" compatLnSpc="1">
            <a:prstTxWarp prst="textNoShape">
              <a:avLst/>
            </a:prstTxWarp>
            <a:noAutofit/>
          </a:bodyPr>
          <a:lstStyle/>
          <a:p>
            <a:pPr marL="0" marR="0" lvl="0" indent="0" algn="ctr" defTabSz="93192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1" y="3954459"/>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7"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3" y="6182442"/>
            <a:ext cx="1552931" cy="332660"/>
          </a:xfrm>
          <a:prstGeom prst="rect">
            <a:avLst/>
          </a:prstGeom>
        </p:spPr>
      </p:pic>
      <p:sp>
        <p:nvSpPr>
          <p:cNvPr id="8" name="Rectangle 6"/>
          <p:cNvSpPr>
            <a:spLocks noChangeArrowheads="1"/>
          </p:cNvSpPr>
          <p:nvPr userDrawn="1"/>
        </p:nvSpPr>
        <p:spPr bwMode="auto">
          <a:xfrm>
            <a:off x="3177" y="4395790"/>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5155911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4"/>
            <a:ext cx="11887200" cy="1831975"/>
          </a:xfrm>
          <a:noFill/>
        </p:spPr>
        <p:txBody>
          <a:bodyPr tIns="91440" bIns="91440" anchor="t" anchorCtr="0"/>
          <a:lstStyle>
            <a:lvl1pPr algn="l" defTabSz="932194" rtl="0" eaLnBrk="1" latinLnBrk="0" hangingPunct="1">
              <a:lnSpc>
                <a:spcPct val="90000"/>
              </a:lnSpc>
              <a:spcBef>
                <a:spcPct val="0"/>
              </a:spcBef>
              <a:buNone/>
              <a:defRPr lang="en-US" sz="8796"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18417814"/>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51"/>
            <a:ext cx="11889564" cy="2059025"/>
          </a:xfrm>
        </p:spPr>
        <p:txBody>
          <a:bodyPr/>
          <a:lstStyle>
            <a:lvl1pPr marL="0" indent="0">
              <a:buNone/>
              <a:defRPr/>
            </a:lvl1pPr>
            <a:lvl2pPr marL="28557" indent="0">
              <a:buNone/>
              <a:defRPr sz="1999"/>
            </a:lvl2pPr>
            <a:lvl3pPr marL="223706" indent="0">
              <a:buNone/>
              <a:defRPr sz="1999"/>
            </a:lvl3pPr>
            <a:lvl4pPr marL="475970" indent="0">
              <a:buNone/>
              <a:defRPr sz="1799"/>
            </a:lvl4pPr>
            <a:lvl5pPr marL="739339" indent="0">
              <a:buNone/>
              <a:defRPr sz="17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841206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399"/>
            </a:lvl3pPr>
            <a:lvl4pPr>
              <a:defRPr sz="1999"/>
            </a:lvl4pPr>
            <a:lvl5pPr>
              <a:defRPr sz="19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172597"/>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040832"/>
          </a:xfrm>
        </p:spPr>
        <p:txBody>
          <a:bodyPr wrap="square">
            <a:spAutoFit/>
          </a:bodyPr>
          <a:lstStyle>
            <a:lvl1pPr marL="0" indent="0">
              <a:spcBef>
                <a:spcPts val="1224"/>
              </a:spcBef>
              <a:buClr>
                <a:schemeClr val="tx1"/>
              </a:buClr>
              <a:buFont typeface="Wingdings" pitchFamily="2" charset="2"/>
              <a:buNone/>
              <a:defRPr sz="3597"/>
            </a:lvl1pPr>
            <a:lvl2pPr marL="0" indent="0">
              <a:buNone/>
              <a:defRPr sz="1999"/>
            </a:lvl2pPr>
            <a:lvl3pPr marL="231639" indent="0">
              <a:buNone/>
              <a:tabLst/>
              <a:defRPr sz="1999"/>
            </a:lvl3pPr>
            <a:lvl4pPr marL="460104" indent="0">
              <a:buNone/>
              <a:defRPr/>
            </a:lvl4pPr>
            <a:lvl5pPr marL="68539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040832"/>
          </a:xfrm>
        </p:spPr>
        <p:txBody>
          <a:bodyPr wrap="square">
            <a:spAutoFit/>
          </a:bodyPr>
          <a:lstStyle>
            <a:lvl1pPr marL="0" indent="0">
              <a:spcBef>
                <a:spcPts val="1224"/>
              </a:spcBef>
              <a:buClr>
                <a:schemeClr val="tx1"/>
              </a:buClr>
              <a:buFont typeface="Wingdings" pitchFamily="2" charset="2"/>
              <a:buNone/>
              <a:defRPr sz="3597"/>
            </a:lvl1pPr>
            <a:lvl2pPr marL="0" indent="0">
              <a:buNone/>
              <a:defRPr sz="1999"/>
            </a:lvl2pPr>
            <a:lvl3pPr marL="231639" indent="0">
              <a:buNone/>
              <a:tabLst/>
              <a:defRPr sz="1999"/>
            </a:lvl3pPr>
            <a:lvl4pPr marL="460104" indent="0">
              <a:buNone/>
              <a:defRPr/>
            </a:lvl4pPr>
            <a:lvl5pPr marL="68539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6636940"/>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108517"/>
          </a:xfrm>
        </p:spPr>
        <p:txBody>
          <a:bodyPr wrap="square">
            <a:spAutoFit/>
          </a:bodyPr>
          <a:lstStyle>
            <a:lvl1pPr marL="287168" indent="-287168">
              <a:spcBef>
                <a:spcPts val="1224"/>
              </a:spcBef>
              <a:buClr>
                <a:schemeClr val="tx1"/>
              </a:buClr>
              <a:buFont typeface="Wingdings" panose="05000000000000000000" pitchFamily="2" charset="2"/>
              <a:buChar char="§"/>
              <a:defRPr sz="3597"/>
            </a:lvl1pPr>
            <a:lvl2pPr marL="530854" indent="-233057">
              <a:defRPr sz="2399"/>
            </a:lvl2pPr>
            <a:lvl3pPr marL="699173" indent="-168320">
              <a:tabLst/>
              <a:defRPr sz="1999"/>
            </a:lvl3pPr>
            <a:lvl4pPr marL="880440" indent="-181267">
              <a:defRPr/>
            </a:lvl4pPr>
            <a:lvl5pPr marL="1048759" indent="-1683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108517"/>
          </a:xfrm>
        </p:spPr>
        <p:txBody>
          <a:bodyPr wrap="square">
            <a:spAutoFit/>
          </a:bodyPr>
          <a:lstStyle>
            <a:lvl1pPr marL="287168" indent="-287168">
              <a:spcBef>
                <a:spcPts val="1224"/>
              </a:spcBef>
              <a:buClr>
                <a:schemeClr val="tx1"/>
              </a:buClr>
              <a:buFont typeface="Wingdings" panose="05000000000000000000" pitchFamily="2" charset="2"/>
              <a:buChar char="§"/>
              <a:defRPr sz="3597"/>
            </a:lvl1pPr>
            <a:lvl2pPr marL="530854" indent="-233057">
              <a:defRPr sz="2399"/>
            </a:lvl2pPr>
            <a:lvl3pPr marL="699173" indent="-168320">
              <a:tabLst/>
              <a:defRPr sz="1999"/>
            </a:lvl3pPr>
            <a:lvl4pPr marL="880440" indent="-181267">
              <a:defRPr/>
            </a:lvl4pPr>
            <a:lvl5pPr marL="1048759" indent="-1683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17051"/>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2749121"/>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7" y="1211265"/>
            <a:ext cx="11889564" cy="917575"/>
          </a:xfrm>
        </p:spPr>
        <p:txBody>
          <a:bodyPr/>
          <a:lstStyle>
            <a:lvl1pPr>
              <a:defRPr sz="7195" baseline="0"/>
            </a:lvl1pPr>
          </a:lstStyle>
          <a:p>
            <a:r>
              <a:rPr lang="en-US"/>
              <a:t>Click to edit Master title style</a:t>
            </a:r>
            <a:endParaRPr lang="en-US" dirty="0"/>
          </a:p>
        </p:txBody>
      </p:sp>
    </p:spTree>
    <p:extLst>
      <p:ext uri="{BB962C8B-B14F-4D97-AF65-F5344CB8AC3E}">
        <p14:creationId xmlns:p14="http://schemas.microsoft.com/office/powerpoint/2010/main" val="4241538341"/>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7" baseline="0"/>
            </a:lvl1pPr>
          </a:lstStyle>
          <a:p>
            <a:r>
              <a:rPr lang="en-US"/>
              <a:t>Click to edit Master title style</a:t>
            </a:r>
            <a:endParaRPr lang="en-US" dirty="0"/>
          </a:p>
        </p:txBody>
      </p:sp>
    </p:spTree>
    <p:extLst>
      <p:ext uri="{BB962C8B-B14F-4D97-AF65-F5344CB8AC3E}">
        <p14:creationId xmlns:p14="http://schemas.microsoft.com/office/powerpoint/2010/main" val="2342054936"/>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1808"/>
            <a:ext cx="10058399" cy="917575"/>
          </a:xfrm>
        </p:spPr>
        <p:txBody>
          <a:bodyPr/>
          <a:lstStyle>
            <a:lvl1pPr marL="233226" indent="-233226">
              <a:defRPr sz="5997"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3791651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325917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2125665"/>
            <a:ext cx="10058399" cy="917575"/>
          </a:xfrm>
        </p:spPr>
        <p:txBody>
          <a:bodyPr/>
          <a:lstStyle>
            <a:lvl1pPr marL="282408" indent="-282408">
              <a:tabLst>
                <a:tab pos="282408" algn="l"/>
              </a:tabLst>
              <a:defRPr sz="5997"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48298123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4"/>
            <a:ext cx="11887200" cy="932563"/>
          </a:xfrm>
        </p:spPr>
        <p:txBody>
          <a:bodyPr/>
          <a:lstStyle>
            <a:lvl1pPr marL="0" indent="0">
              <a:buNone/>
              <a:defRPr sz="5397">
                <a:gradFill>
                  <a:gsLst>
                    <a:gs pos="3333">
                      <a:schemeClr val="tx1"/>
                    </a:gs>
                    <a:gs pos="39000">
                      <a:schemeClr val="tx1"/>
                    </a:gs>
                  </a:gsLst>
                  <a:lin ang="5400000" scaled="0"/>
                </a:gradFill>
              </a:defRPr>
            </a:lvl1pPr>
            <a:lvl2pPr marL="0" indent="0">
              <a:buFontTx/>
              <a:buNone/>
              <a:defRPr sz="1999"/>
            </a:lvl2pPr>
            <a:lvl3pPr marL="228467" indent="0">
              <a:buNone/>
              <a:defRPr/>
            </a:lvl3pPr>
            <a:lvl4pPr marL="456930" indent="0">
              <a:buNone/>
              <a:defRPr/>
            </a:lvl4pPr>
            <a:lvl5pPr marL="685397" indent="0">
              <a:buNone/>
              <a:defRPr/>
            </a:lvl5pPr>
          </a:lstStyle>
          <a:p>
            <a:pPr lvl="0"/>
            <a:r>
              <a:rPr lang="en-US"/>
              <a:t>Edit Master text styles</a:t>
            </a:r>
          </a:p>
        </p:txBody>
      </p:sp>
      <p:sp>
        <p:nvSpPr>
          <p:cNvPr id="4" name="Title 1"/>
          <p:cNvSpPr>
            <a:spLocks noGrp="1"/>
          </p:cNvSpPr>
          <p:nvPr>
            <p:ph type="title"/>
          </p:nvPr>
        </p:nvSpPr>
        <p:spPr>
          <a:xfrm>
            <a:off x="282577" y="1211265"/>
            <a:ext cx="11889564" cy="917575"/>
          </a:xfrm>
        </p:spPr>
        <p:txBody>
          <a:bodyPr/>
          <a:lstStyle>
            <a:lvl1pPr>
              <a:defRPr sz="7195"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32847370"/>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19479475"/>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40" y="1241428"/>
            <a:ext cx="5486399" cy="917575"/>
          </a:xfrm>
        </p:spPr>
        <p:txBody>
          <a:bodyPr/>
          <a:lstStyle>
            <a:lvl1pPr>
              <a:defRPr sz="6597"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0"/>
            <a:ext cx="6216650" cy="698856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657609"/>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443746"/>
          </a:xfrm>
          <a:prstGeom prst="rect">
            <a:avLst/>
          </a:prstGeom>
        </p:spPr>
        <p:txBody>
          <a:bodyPr/>
          <a:lstStyle>
            <a:lvl1pPr marL="290342" indent="-290342">
              <a:buClr>
                <a:schemeClr val="tx1"/>
              </a:buClr>
              <a:buSzPct val="90000"/>
              <a:buFont typeface="Wingdings" panose="05000000000000000000" pitchFamily="2" charset="2"/>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63" indent="-280823">
              <a:buClr>
                <a:schemeClr val="tx1"/>
              </a:buClr>
              <a:buSzPct val="90000"/>
              <a:buFont typeface="Wingdings" panose="05000000000000000000" pitchFamily="2" charset="2"/>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05" indent="-290342">
              <a:buClr>
                <a:schemeClr val="tx1"/>
              </a:buClr>
              <a:buSzPct val="90000"/>
              <a:buFont typeface="Wingdings" panose="05000000000000000000" pitchFamily="2" charset="2"/>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72" indent="-228467">
              <a:buClr>
                <a:schemeClr val="tx1"/>
              </a:buClr>
              <a:buSzPct val="90000"/>
              <a:buFont typeface="Wingdings" panose="05000000000000000000" pitchFamily="2" charset="2"/>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38" indent="-228467">
              <a:buClr>
                <a:schemeClr val="tx1"/>
              </a:buClr>
              <a:buSzPct val="90000"/>
              <a:buFont typeface="Wingdings" panose="05000000000000000000" pitchFamily="2" charset="2"/>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2666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92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0945" y="2441907"/>
            <a:ext cx="4698293" cy="2105809"/>
          </a:xfrm>
          <a:prstGeom prst="rect">
            <a:avLst/>
          </a:prstGeom>
        </p:spPr>
      </p:pic>
    </p:spTree>
    <p:extLst>
      <p:ext uri="{BB962C8B-B14F-4D97-AF65-F5344CB8AC3E}">
        <p14:creationId xmlns:p14="http://schemas.microsoft.com/office/powerpoint/2010/main" val="3572876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1"/>
            <a:ext cx="8536515" cy="1190453"/>
          </a:xfrm>
          <a:noFill/>
        </p:spPr>
        <p:txBody>
          <a:bodyPr lIns="146304" tIns="91440" rIns="146304" bIns="91440" anchor="t" anchorCtr="0"/>
          <a:lstStyle>
            <a:lvl1pPr>
              <a:defRPr sz="5398"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399"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7580" y="6255936"/>
            <a:ext cx="1280160" cy="274492"/>
          </a:xfrm>
          <a:prstGeom prst="rect">
            <a:avLst/>
          </a:prstGeom>
        </p:spPr>
      </p:pic>
    </p:spTree>
    <p:extLst>
      <p:ext uri="{BB962C8B-B14F-4D97-AF65-F5344CB8AC3E}">
        <p14:creationId xmlns:p14="http://schemas.microsoft.com/office/powerpoint/2010/main" val="90098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3229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7"/>
            <a:ext cx="11584484" cy="2231005"/>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3"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997660388"/>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231005"/>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76145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2796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1"/>
            <a:ext cx="11887200" cy="2163318"/>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510" indent="0">
              <a:buNone/>
              <a:defRPr/>
            </a:lvl3pPr>
            <a:lvl4pPr marL="457019" indent="0">
              <a:buNone/>
              <a:defRPr/>
            </a:lvl4pPr>
            <a:lvl5pPr marL="68552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9115276"/>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035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8"/>
            <a:ext cx="3857734" cy="6405652"/>
          </a:xfrm>
        </p:spPr>
        <p:txBody>
          <a:bodyPr anchor="ctr"/>
          <a:lstStyle>
            <a:lvl1pPr>
              <a:defRPr sz="5503" spc="-153"/>
            </a:lvl1pPr>
          </a:lstStyle>
          <a:p>
            <a:r>
              <a:rPr lang="en-US" dirty="0"/>
              <a:t>Click to edit Master title style</a:t>
            </a:r>
          </a:p>
        </p:txBody>
      </p:sp>
    </p:spTree>
    <p:extLst>
      <p:ext uri="{BB962C8B-B14F-4D97-AF65-F5344CB8AC3E}">
        <p14:creationId xmlns:p14="http://schemas.microsoft.com/office/powerpoint/2010/main" val="175425725"/>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5"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37911884"/>
      </p:ext>
    </p:extLst>
  </p:cSld>
  <p:clrMapOvr>
    <a:masterClrMapping/>
  </p:clrMapOvr>
  <p:transition spd="slow">
    <p:push/>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1586"/>
            <a:ext cx="12433300" cy="6993135"/>
          </a:xfrm>
          <a:prstGeom prst="rect">
            <a:avLst/>
          </a:prstGeom>
        </p:spPr>
      </p:pic>
      <p:sp>
        <p:nvSpPr>
          <p:cNvPr id="2" name="Rectangle 1"/>
          <p:cNvSpPr/>
          <p:nvPr userDrawn="1"/>
        </p:nvSpPr>
        <p:spPr bwMode="auto">
          <a:xfrm>
            <a:off x="274638" y="2125663"/>
            <a:ext cx="6400800" cy="3657600"/>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150099" y="479775"/>
            <a:ext cx="1828795" cy="391754"/>
          </a:xfrm>
          <a:prstGeom prst="rect">
            <a:avLst/>
          </a:prstGeom>
        </p:spPr>
      </p:pic>
    </p:spTree>
    <p:extLst>
      <p:ext uri="{BB962C8B-B14F-4D97-AF65-F5344CB8AC3E}">
        <p14:creationId xmlns:p14="http://schemas.microsoft.com/office/powerpoint/2010/main" val="393941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0" y="479425"/>
            <a:ext cx="1828800" cy="393896"/>
          </a:xfrm>
          <a:prstGeom prst="rect">
            <a:avLst/>
          </a:prstGeom>
        </p:spPr>
      </p:pic>
    </p:spTree>
    <p:extLst>
      <p:ext uri="{BB962C8B-B14F-4D97-AF65-F5344CB8AC3E}">
        <p14:creationId xmlns:p14="http://schemas.microsoft.com/office/powerpoint/2010/main" val="2030883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3470774"/>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076196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621409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35807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782495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0998250"/>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22427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98893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4018951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621704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089808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729252"/>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6058922"/>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989181"/>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88279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63581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361312"/>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6657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2783193"/>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164043917"/>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89518798"/>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280" y="3168586"/>
            <a:ext cx="11378776" cy="1017048"/>
          </a:xfrm>
        </p:spPr>
        <p:txBody>
          <a:bodyPr anchor="b" anchorCtr="0"/>
          <a:lstStyle>
            <a:lvl1pPr>
              <a:defRPr sz="7338" spc="-154"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31280" y="4749134"/>
            <a:ext cx="11378776"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262203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54714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lang="en-US" sz="2244" dirty="0">
                <a:solidFill>
                  <a:srgbClr val="FFFFFF"/>
                </a:solidFill>
              </a:rPr>
              <a:t>Presenter</a:t>
            </a:r>
            <a:endParaRPr sz="2244" dirty="0">
              <a:solidFill>
                <a:srgbClr val="FFFFFF"/>
              </a:solidFill>
            </a:endParaRP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432540277"/>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59380041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6651415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338425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3034362358"/>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4064166799"/>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87807442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180558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386224066"/>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728230969"/>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825214630"/>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spTree>
    <p:extLst>
      <p:ext uri="{BB962C8B-B14F-4D97-AF65-F5344CB8AC3E}">
        <p14:creationId xmlns:p14="http://schemas.microsoft.com/office/powerpoint/2010/main" val="3236047940"/>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4079029139"/>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51473925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671241"/>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8312073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623178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419814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3357415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359080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547320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80" dirty="0">
                <a:solidFill>
                  <a:schemeClr val="tx2"/>
                </a:solidFill>
              </a:rPr>
              <a:t>Subhead</a:t>
            </a: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351375102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140597902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317924100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761838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5524419"/>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34617887"/>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393313018"/>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p>
        </p:txBody>
      </p:sp>
    </p:spTree>
    <p:extLst>
      <p:ext uri="{BB962C8B-B14F-4D97-AF65-F5344CB8AC3E}">
        <p14:creationId xmlns:p14="http://schemas.microsoft.com/office/powerpoint/2010/main" val="149626771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218710190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p>
        </p:txBody>
      </p:sp>
    </p:spTree>
    <p:extLst>
      <p:ext uri="{BB962C8B-B14F-4D97-AF65-F5344CB8AC3E}">
        <p14:creationId xmlns:p14="http://schemas.microsoft.com/office/powerpoint/2010/main" val="3933097761"/>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18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2034609288"/>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marL="0" marR="0" lvl="0" indent="0" defTabSz="950831"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a:t>Click to edit Master text styles</a:t>
            </a:r>
          </a:p>
        </p:txBody>
      </p:sp>
    </p:spTree>
    <p:extLst>
      <p:ext uri="{BB962C8B-B14F-4D97-AF65-F5344CB8AC3E}">
        <p14:creationId xmlns:p14="http://schemas.microsoft.com/office/powerpoint/2010/main" val="3724100534"/>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rgbClr val="FFFFFF"/>
              </a:solidFill>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31832"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85837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70286504"/>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5"/>
            <a:ext cx="11889564" cy="9175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4248783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39287707"/>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7" y="4395790"/>
            <a:ext cx="12433300" cy="2601913"/>
          </a:xfrm>
          <a:prstGeom prst="rect">
            <a:avLst/>
          </a:prstGeom>
          <a:solidFill>
            <a:srgbClr val="4DA0E2"/>
          </a:solidFill>
          <a:ln>
            <a:noFill/>
          </a:ln>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843588"/>
            <a:ext cx="12433301" cy="1154113"/>
          </a:xfrm>
          <a:prstGeom prst="rect">
            <a:avLst/>
          </a:prstGeom>
          <a:solidFill>
            <a:srgbClr val="00188F"/>
          </a:solidFill>
          <a:ln>
            <a:noFill/>
          </a:ln>
          <a:extLst/>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7" y="3409952"/>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4" rIns="182781" bIns="146224" numCol="1" spcCol="0" rtlCol="0" fromWordArt="0" anchor="t" anchorCtr="0" forceAA="0" compatLnSpc="1">
            <a:prstTxWarp prst="textNoShape">
              <a:avLst/>
            </a:prstTxWarp>
            <a:noAutofit/>
          </a:bodyPr>
          <a:lstStyle/>
          <a:p>
            <a:pPr marL="0" marR="0" lvl="0" indent="0" algn="ctr" defTabSz="93192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1" y="3954459"/>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7"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3" y="6182442"/>
            <a:ext cx="1552931" cy="332660"/>
          </a:xfrm>
          <a:prstGeom prst="rect">
            <a:avLst/>
          </a:prstGeom>
        </p:spPr>
      </p:pic>
      <p:sp>
        <p:nvSpPr>
          <p:cNvPr id="8" name="Rectangle 6"/>
          <p:cNvSpPr>
            <a:spLocks noChangeArrowheads="1"/>
          </p:cNvSpPr>
          <p:nvPr userDrawn="1"/>
        </p:nvSpPr>
        <p:spPr bwMode="auto">
          <a:xfrm>
            <a:off x="3177" y="4395790"/>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marL="0" marR="0" lvl="0" indent="0" algn="l" defTabSz="93219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536236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4"/>
            <a:ext cx="11887200" cy="1831975"/>
          </a:xfrm>
          <a:noFill/>
        </p:spPr>
        <p:txBody>
          <a:bodyPr tIns="91440" bIns="91440" anchor="t" anchorCtr="0"/>
          <a:lstStyle>
            <a:lvl1pPr algn="l" defTabSz="932194" rtl="0" eaLnBrk="1" latinLnBrk="0" hangingPunct="1">
              <a:lnSpc>
                <a:spcPct val="90000"/>
              </a:lnSpc>
              <a:spcBef>
                <a:spcPct val="0"/>
              </a:spcBef>
              <a:buNone/>
              <a:defRPr lang="en-US" sz="8796"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480122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51"/>
            <a:ext cx="11889564" cy="2059025"/>
          </a:xfrm>
        </p:spPr>
        <p:txBody>
          <a:bodyPr/>
          <a:lstStyle>
            <a:lvl1pPr marL="0" indent="0">
              <a:buNone/>
              <a:defRPr/>
            </a:lvl1pPr>
            <a:lvl2pPr marL="28557" indent="0">
              <a:buNone/>
              <a:defRPr sz="1999"/>
            </a:lvl2pPr>
            <a:lvl3pPr marL="223706" indent="0">
              <a:buNone/>
              <a:defRPr sz="1999"/>
            </a:lvl3pPr>
            <a:lvl4pPr marL="475970" indent="0">
              <a:buNone/>
              <a:defRPr sz="1799"/>
            </a:lvl4pPr>
            <a:lvl5pPr marL="739339" indent="0">
              <a:buNone/>
              <a:defRPr sz="17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2478846"/>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399"/>
            </a:lvl3pPr>
            <a:lvl4pPr>
              <a:defRPr sz="1999"/>
            </a:lvl4pPr>
            <a:lvl5pPr>
              <a:defRPr sz="19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4659861"/>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040832"/>
          </a:xfrm>
        </p:spPr>
        <p:txBody>
          <a:bodyPr wrap="square">
            <a:spAutoFit/>
          </a:bodyPr>
          <a:lstStyle>
            <a:lvl1pPr marL="0" indent="0">
              <a:spcBef>
                <a:spcPts val="1224"/>
              </a:spcBef>
              <a:buClr>
                <a:schemeClr val="tx1"/>
              </a:buClr>
              <a:buFont typeface="Wingdings" pitchFamily="2" charset="2"/>
              <a:buNone/>
              <a:defRPr sz="3597"/>
            </a:lvl1pPr>
            <a:lvl2pPr marL="0" indent="0">
              <a:buNone/>
              <a:defRPr sz="1999"/>
            </a:lvl2pPr>
            <a:lvl3pPr marL="231639" indent="0">
              <a:buNone/>
              <a:tabLst/>
              <a:defRPr sz="1999"/>
            </a:lvl3pPr>
            <a:lvl4pPr marL="460104" indent="0">
              <a:buNone/>
              <a:defRPr/>
            </a:lvl4pPr>
            <a:lvl5pPr marL="68539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040832"/>
          </a:xfrm>
        </p:spPr>
        <p:txBody>
          <a:bodyPr wrap="square">
            <a:spAutoFit/>
          </a:bodyPr>
          <a:lstStyle>
            <a:lvl1pPr marL="0" indent="0">
              <a:spcBef>
                <a:spcPts val="1224"/>
              </a:spcBef>
              <a:buClr>
                <a:schemeClr val="tx1"/>
              </a:buClr>
              <a:buFont typeface="Wingdings" pitchFamily="2" charset="2"/>
              <a:buNone/>
              <a:defRPr sz="3597"/>
            </a:lvl1pPr>
            <a:lvl2pPr marL="0" indent="0">
              <a:buNone/>
              <a:defRPr sz="1999"/>
            </a:lvl2pPr>
            <a:lvl3pPr marL="231639" indent="0">
              <a:buNone/>
              <a:tabLst/>
              <a:defRPr sz="1999"/>
            </a:lvl3pPr>
            <a:lvl4pPr marL="460104" indent="0">
              <a:buNone/>
              <a:defRPr/>
            </a:lvl4pPr>
            <a:lvl5pPr marL="68539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4128247"/>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108517"/>
          </a:xfrm>
        </p:spPr>
        <p:txBody>
          <a:bodyPr wrap="square">
            <a:spAutoFit/>
          </a:bodyPr>
          <a:lstStyle>
            <a:lvl1pPr marL="287168" indent="-287168">
              <a:spcBef>
                <a:spcPts val="1224"/>
              </a:spcBef>
              <a:buClr>
                <a:schemeClr val="tx1"/>
              </a:buClr>
              <a:buFont typeface="Wingdings" panose="05000000000000000000" pitchFamily="2" charset="2"/>
              <a:buChar char="§"/>
              <a:defRPr sz="3597"/>
            </a:lvl1pPr>
            <a:lvl2pPr marL="530854" indent="-233057">
              <a:defRPr sz="2399"/>
            </a:lvl2pPr>
            <a:lvl3pPr marL="699173" indent="-168320">
              <a:tabLst/>
              <a:defRPr sz="1999"/>
            </a:lvl3pPr>
            <a:lvl4pPr marL="880440" indent="-181267">
              <a:defRPr/>
            </a:lvl4pPr>
            <a:lvl5pPr marL="1048759" indent="-1683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108517"/>
          </a:xfrm>
        </p:spPr>
        <p:txBody>
          <a:bodyPr wrap="square">
            <a:spAutoFit/>
          </a:bodyPr>
          <a:lstStyle>
            <a:lvl1pPr marL="287168" indent="-287168">
              <a:spcBef>
                <a:spcPts val="1224"/>
              </a:spcBef>
              <a:buClr>
                <a:schemeClr val="tx1"/>
              </a:buClr>
              <a:buFont typeface="Wingdings" panose="05000000000000000000" pitchFamily="2" charset="2"/>
              <a:buChar char="§"/>
              <a:defRPr sz="3597"/>
            </a:lvl1pPr>
            <a:lvl2pPr marL="530854" indent="-233057">
              <a:defRPr sz="2399"/>
            </a:lvl2pPr>
            <a:lvl3pPr marL="699173" indent="-168320">
              <a:tabLst/>
              <a:defRPr sz="1999"/>
            </a:lvl3pPr>
            <a:lvl4pPr marL="880440" indent="-181267">
              <a:defRPr/>
            </a:lvl4pPr>
            <a:lvl5pPr marL="1048759" indent="-1683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0415316"/>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3815625"/>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7" y="1211265"/>
            <a:ext cx="11889564" cy="917575"/>
          </a:xfrm>
        </p:spPr>
        <p:txBody>
          <a:bodyPr/>
          <a:lstStyle>
            <a:lvl1pPr>
              <a:defRPr sz="7195" baseline="0"/>
            </a:lvl1pPr>
          </a:lstStyle>
          <a:p>
            <a:r>
              <a:rPr lang="en-US"/>
              <a:t>Click to edit Master title style</a:t>
            </a:r>
            <a:endParaRPr lang="en-US" dirty="0"/>
          </a:p>
        </p:txBody>
      </p:sp>
    </p:spTree>
    <p:extLst>
      <p:ext uri="{BB962C8B-B14F-4D97-AF65-F5344CB8AC3E}">
        <p14:creationId xmlns:p14="http://schemas.microsoft.com/office/powerpoint/2010/main" val="3637458549"/>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7" baseline="0"/>
            </a:lvl1pPr>
          </a:lstStyle>
          <a:p>
            <a:r>
              <a:rPr lang="en-US"/>
              <a:t>Click to edit Master title style</a:t>
            </a:r>
            <a:endParaRPr lang="en-US" dirty="0"/>
          </a:p>
        </p:txBody>
      </p:sp>
    </p:spTree>
    <p:extLst>
      <p:ext uri="{BB962C8B-B14F-4D97-AF65-F5344CB8AC3E}">
        <p14:creationId xmlns:p14="http://schemas.microsoft.com/office/powerpoint/2010/main" val="2367757704"/>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1808"/>
            <a:ext cx="10058399" cy="917575"/>
          </a:xfrm>
        </p:spPr>
        <p:txBody>
          <a:bodyPr/>
          <a:lstStyle>
            <a:lvl1pPr marL="233226" indent="-233226">
              <a:defRPr sz="5997"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65409625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910825"/>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2125665"/>
            <a:ext cx="10058399" cy="917575"/>
          </a:xfrm>
        </p:spPr>
        <p:txBody>
          <a:bodyPr/>
          <a:lstStyle>
            <a:lvl1pPr marL="282408" indent="-282408">
              <a:tabLst>
                <a:tab pos="282408" algn="l"/>
              </a:tabLst>
              <a:defRPr sz="5997"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44132538"/>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4"/>
            <a:ext cx="11887200" cy="932563"/>
          </a:xfrm>
        </p:spPr>
        <p:txBody>
          <a:bodyPr/>
          <a:lstStyle>
            <a:lvl1pPr marL="0" indent="0">
              <a:buNone/>
              <a:defRPr sz="5397">
                <a:gradFill>
                  <a:gsLst>
                    <a:gs pos="3333">
                      <a:schemeClr val="tx1"/>
                    </a:gs>
                    <a:gs pos="39000">
                      <a:schemeClr val="tx1"/>
                    </a:gs>
                  </a:gsLst>
                  <a:lin ang="5400000" scaled="0"/>
                </a:gradFill>
              </a:defRPr>
            </a:lvl1pPr>
            <a:lvl2pPr marL="0" indent="0">
              <a:buFontTx/>
              <a:buNone/>
              <a:defRPr sz="1999"/>
            </a:lvl2pPr>
            <a:lvl3pPr marL="228467" indent="0">
              <a:buNone/>
              <a:defRPr/>
            </a:lvl3pPr>
            <a:lvl4pPr marL="456930" indent="0">
              <a:buNone/>
              <a:defRPr/>
            </a:lvl4pPr>
            <a:lvl5pPr marL="685397" indent="0">
              <a:buNone/>
              <a:defRPr/>
            </a:lvl5pPr>
          </a:lstStyle>
          <a:p>
            <a:pPr lvl="0"/>
            <a:r>
              <a:rPr lang="en-US"/>
              <a:t>Edit Master text styles</a:t>
            </a:r>
          </a:p>
        </p:txBody>
      </p:sp>
      <p:sp>
        <p:nvSpPr>
          <p:cNvPr id="4" name="Title 1"/>
          <p:cNvSpPr>
            <a:spLocks noGrp="1"/>
          </p:cNvSpPr>
          <p:nvPr>
            <p:ph type="title"/>
          </p:nvPr>
        </p:nvSpPr>
        <p:spPr>
          <a:xfrm>
            <a:off x="282577" y="1211265"/>
            <a:ext cx="11889564" cy="917575"/>
          </a:xfrm>
        </p:spPr>
        <p:txBody>
          <a:bodyPr/>
          <a:lstStyle>
            <a:lvl1pPr>
              <a:defRPr sz="7195"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82881861"/>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2231334"/>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40" y="1241428"/>
            <a:ext cx="5486399" cy="917575"/>
          </a:xfrm>
        </p:spPr>
        <p:txBody>
          <a:bodyPr/>
          <a:lstStyle>
            <a:lvl1pPr>
              <a:defRPr sz="6597"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0"/>
            <a:ext cx="6216650" cy="698856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163724"/>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497419"/>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443746"/>
          </a:xfrm>
          <a:prstGeom prst="rect">
            <a:avLst/>
          </a:prstGeom>
        </p:spPr>
        <p:txBody>
          <a:bodyPr/>
          <a:lstStyle>
            <a:lvl1pPr marL="290342" indent="-290342">
              <a:buClr>
                <a:schemeClr val="tx1"/>
              </a:buClr>
              <a:buSzPct val="90000"/>
              <a:buFont typeface="Wingdings" panose="05000000000000000000" pitchFamily="2" charset="2"/>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63" indent="-280823">
              <a:buClr>
                <a:schemeClr val="tx1"/>
              </a:buClr>
              <a:buSzPct val="90000"/>
              <a:buFont typeface="Wingdings" panose="05000000000000000000" pitchFamily="2" charset="2"/>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05" indent="-290342">
              <a:buClr>
                <a:schemeClr val="tx1"/>
              </a:buClr>
              <a:buSzPct val="90000"/>
              <a:buFont typeface="Wingdings" panose="05000000000000000000" pitchFamily="2" charset="2"/>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72" indent="-228467">
              <a:buClr>
                <a:schemeClr val="tx1"/>
              </a:buClr>
              <a:buSzPct val="90000"/>
              <a:buFont typeface="Wingdings" panose="05000000000000000000" pitchFamily="2" charset="2"/>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38" indent="-228467">
              <a:buClr>
                <a:schemeClr val="tx1"/>
              </a:buClr>
              <a:buSzPct val="90000"/>
              <a:buFont typeface="Wingdings" panose="05000000000000000000" pitchFamily="2" charset="2"/>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71251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92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0945" y="2441907"/>
            <a:ext cx="4698293" cy="2105809"/>
          </a:xfrm>
          <a:prstGeom prst="rect">
            <a:avLst/>
          </a:prstGeom>
        </p:spPr>
      </p:pic>
    </p:spTree>
    <p:extLst>
      <p:ext uri="{BB962C8B-B14F-4D97-AF65-F5344CB8AC3E}">
        <p14:creationId xmlns:p14="http://schemas.microsoft.com/office/powerpoint/2010/main" val="1009181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1"/>
            <a:ext cx="8536515" cy="1190453"/>
          </a:xfrm>
          <a:noFill/>
        </p:spPr>
        <p:txBody>
          <a:bodyPr lIns="146304" tIns="91440" rIns="146304" bIns="91440" anchor="t" anchorCtr="0"/>
          <a:lstStyle>
            <a:lvl1pPr>
              <a:defRPr sz="5398"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399"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7580" y="6255936"/>
            <a:ext cx="1280160" cy="274492"/>
          </a:xfrm>
          <a:prstGeom prst="rect">
            <a:avLst/>
          </a:prstGeom>
        </p:spPr>
      </p:pic>
    </p:spTree>
    <p:extLst>
      <p:ext uri="{BB962C8B-B14F-4D97-AF65-F5344CB8AC3E}">
        <p14:creationId xmlns:p14="http://schemas.microsoft.com/office/powerpoint/2010/main" val="263309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5341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7"/>
            <a:ext cx="11584484" cy="2231005"/>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3"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3765304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81404"/>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231005"/>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6631504"/>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1"/>
            <a:ext cx="11887200" cy="2163318"/>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510" indent="0">
              <a:buNone/>
              <a:defRPr/>
            </a:lvl3pPr>
            <a:lvl4pPr marL="457019" indent="0">
              <a:buNone/>
              <a:defRPr/>
            </a:lvl4pPr>
            <a:lvl5pPr marL="68552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101158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2269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8"/>
            <a:ext cx="3857734" cy="6405652"/>
          </a:xfrm>
        </p:spPr>
        <p:txBody>
          <a:bodyPr anchor="ctr"/>
          <a:lstStyle>
            <a:lvl1pPr>
              <a:defRPr sz="5503" spc="-153"/>
            </a:lvl1pPr>
          </a:lstStyle>
          <a:p>
            <a:r>
              <a:rPr lang="en-US" dirty="0"/>
              <a:t>Click to edit Master title style</a:t>
            </a:r>
          </a:p>
        </p:txBody>
      </p:sp>
    </p:spTree>
    <p:extLst>
      <p:ext uri="{BB962C8B-B14F-4D97-AF65-F5344CB8AC3E}">
        <p14:creationId xmlns:p14="http://schemas.microsoft.com/office/powerpoint/2010/main" val="1015558152"/>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5"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30905473"/>
      </p:ext>
    </p:extLst>
  </p:cSld>
  <p:clrMapOvr>
    <a:masterClrMapping/>
  </p:clrMapOvr>
  <p:transition spd="slow">
    <p:push/>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42390"/>
            <a:ext cx="12443540" cy="7036916"/>
          </a:xfrm>
          <a:prstGeom prst="rect">
            <a:avLst/>
          </a:prstGeom>
        </p:spPr>
      </p:pic>
      <p:sp>
        <p:nvSpPr>
          <p:cNvPr id="30" name="Rectangle 29"/>
          <p:cNvSpPr/>
          <p:nvPr userDrawn="1"/>
        </p:nvSpPr>
        <p:spPr>
          <a:xfrm>
            <a:off x="1" y="-30082"/>
            <a:ext cx="12436475" cy="7024608"/>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1" name="Group 30"/>
          <p:cNvGrpSpPr/>
          <p:nvPr userDrawn="1"/>
        </p:nvGrpSpPr>
        <p:grpSpPr>
          <a:xfrm>
            <a:off x="9870766" y="444080"/>
            <a:ext cx="2127249" cy="455612"/>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3" name="Rectangle 1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74568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6449"/>
            <a:ext cx="12443540" cy="7005033"/>
          </a:xfrm>
          <a:prstGeom prst="rect">
            <a:avLst/>
          </a:prstGeom>
        </p:spPr>
      </p:pic>
      <p:sp>
        <p:nvSpPr>
          <p:cNvPr id="26" name="Rectangle 25"/>
          <p:cNvSpPr/>
          <p:nvPr userDrawn="1"/>
        </p:nvSpPr>
        <p:spPr>
          <a:xfrm>
            <a:off x="1" y="0"/>
            <a:ext cx="12436475" cy="7133768"/>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7"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5"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400024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805052"/>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641943292"/>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800281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464990"/>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739231795"/>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03478303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50719085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104937204"/>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561130126"/>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56002624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362542167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545791291"/>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911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auto">
          <a:xfrm>
            <a:off x="0" y="3646608"/>
            <a:ext cx="12436475" cy="3347917"/>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5" y="1832622"/>
            <a:ext cx="10596149" cy="1772472"/>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2622"/>
            <a:ext cx="1797050" cy="1772471"/>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6891" y="2500055"/>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5B6770"/>
              </a:solidFill>
              <a:effectLst/>
              <a:uLnTx/>
              <a:uFillTx/>
              <a:latin typeface="Segoe UI"/>
              <a:ea typeface="+mn-ea"/>
              <a:cs typeface="+mn-cs"/>
            </a:endParaRPr>
          </a:p>
        </p:txBody>
      </p:sp>
      <p:sp>
        <p:nvSpPr>
          <p:cNvPr id="11" name="Rectangle 10"/>
          <p:cNvSpPr/>
          <p:nvPr userDrawn="1"/>
        </p:nvSpPr>
        <p:spPr bwMode="auto">
          <a:xfrm>
            <a:off x="7741814" y="4066169"/>
            <a:ext cx="3727218" cy="2189470"/>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521" tIns="93260" rIns="186521" bIns="93260" numCol="1" rtlCol="0" anchor="ctr" anchorCtr="0" compatLnSpc="1">
            <a:prstTxWarp prst="textNoShape">
              <a:avLst/>
            </a:prstTxWarp>
          </a:bodyPr>
          <a:lstStyle/>
          <a:p>
            <a:pPr defTabSz="699493">
              <a:lnSpc>
                <a:spcPct val="90000"/>
              </a:lnSpc>
            </a:pPr>
            <a:endParaRPr lang="en-US" sz="1836">
              <a:solidFill>
                <a:srgbClr val="505050"/>
              </a:solidFill>
              <a:latin typeface="Segoe UI"/>
              <a:cs typeface="Segoe UI Semibold" panose="020B0702040204020203" pitchFamily="34" charset="0"/>
            </a:endParaRPr>
          </a:p>
        </p:txBody>
      </p:sp>
      <p:grpSp>
        <p:nvGrpSpPr>
          <p:cNvPr id="12" name="Group 11"/>
          <p:cNvGrpSpPr/>
          <p:nvPr userDrawn="1"/>
        </p:nvGrpSpPr>
        <p:grpSpPr>
          <a:xfrm>
            <a:off x="9314878" y="3707581"/>
            <a:ext cx="584285" cy="584285"/>
            <a:chOff x="9526116" y="3593375"/>
            <a:chExt cx="572880" cy="572880"/>
          </a:xfrm>
        </p:grpSpPr>
        <p:sp>
          <p:nvSpPr>
            <p:cNvPr id="13" name="Oval 12"/>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9493">
                <a:defRPr/>
              </a:pPr>
              <a:endParaRPr lang="en-IN" sz="1836">
                <a:solidFill>
                  <a:srgbClr val="FFFFFF">
                    <a:lumMod val="50000"/>
                  </a:srgbClr>
                </a:solidFill>
                <a:latin typeface="Segoe UI"/>
              </a:endParaRPr>
            </a:p>
          </p:txBody>
        </p:sp>
        <p:grpSp>
          <p:nvGrpSpPr>
            <p:cNvPr id="14" name="Group 13"/>
            <p:cNvGrpSpPr/>
            <p:nvPr/>
          </p:nvGrpSpPr>
          <p:grpSpPr>
            <a:xfrm>
              <a:off x="9665949" y="3694070"/>
              <a:ext cx="293216" cy="391951"/>
              <a:chOff x="3975884" y="1124470"/>
              <a:chExt cx="102337" cy="136797"/>
            </a:xfrm>
            <a:solidFill>
              <a:srgbClr val="FFC000"/>
            </a:solidFill>
          </p:grpSpPr>
          <p:sp>
            <p:nvSpPr>
              <p:cNvPr id="15"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9493">
                  <a:defRPr/>
                </a:pPr>
                <a:endParaRPr lang="en-US" sz="4488">
                  <a:solidFill>
                    <a:srgbClr val="FFFFFF">
                      <a:lumMod val="50000"/>
                    </a:srgbClr>
                  </a:solidFill>
                  <a:latin typeface="Segoe UI"/>
                </a:endParaRPr>
              </a:p>
            </p:txBody>
          </p:sp>
          <p:sp>
            <p:nvSpPr>
              <p:cNvPr id="16"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9493">
                  <a:defRPr/>
                </a:pPr>
                <a:endParaRPr lang="en-US" sz="4488">
                  <a:solidFill>
                    <a:srgbClr val="FFFFFF">
                      <a:lumMod val="50000"/>
                    </a:srgbClr>
                  </a:solidFill>
                  <a:latin typeface="Segoe UI"/>
                </a:endParaRPr>
              </a:p>
            </p:txBody>
          </p:sp>
        </p:grpSp>
      </p:grpSp>
    </p:spTree>
    <p:extLst>
      <p:ext uri="{BB962C8B-B14F-4D97-AF65-F5344CB8AC3E}">
        <p14:creationId xmlns:p14="http://schemas.microsoft.com/office/powerpoint/2010/main" val="393351212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964384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400225"/>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8437632"/>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8003651"/>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5421341"/>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59982039"/>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343039254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3849173293"/>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394030931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3993890291"/>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a:t>Subtitle</a:t>
            </a:r>
          </a:p>
        </p:txBody>
      </p:sp>
    </p:spTree>
    <p:extLst>
      <p:ext uri="{BB962C8B-B14F-4D97-AF65-F5344CB8AC3E}">
        <p14:creationId xmlns:p14="http://schemas.microsoft.com/office/powerpoint/2010/main" val="1027164365"/>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7178599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07812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629772545"/>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1729229741"/>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81334048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520555293"/>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42270147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301651931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003071663"/>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4291211722"/>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986646870"/>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
        <p:nvSpPr>
          <p:cNvPr id="9" name="TextBox 8"/>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2782761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99001494"/>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188282"/>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29231739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98260254"/>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858766076"/>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1_Small Title Only">
    <p:bg bwMode="gray">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3668" y="1789109"/>
            <a:ext cx="11890217" cy="2228302"/>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p:nvPr>
        </p:nvSpPr>
        <p:spPr>
          <a:xfrm>
            <a:off x="273668" y="1008702"/>
            <a:ext cx="11890759" cy="583860"/>
          </a:xfrm>
        </p:spPr>
        <p:txBody>
          <a:bodyPr/>
          <a:lstStyle>
            <a:lvl1pPr marL="0" indent="0">
              <a:buNone/>
              <a:defRPr sz="2856">
                <a:solidFill>
                  <a:schemeClr val="tx2"/>
                </a:solidFill>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3277653797"/>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70395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8713FE0B-90A8-4522-911E-44EDD0F8888D}" type="datetimeFigureOut">
              <a:rPr lang="en-US" smtClean="0"/>
              <a:t>4/21/2017</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134088498"/>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0" y="0"/>
            <a:ext cx="12434711" cy="6982569"/>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434711" cy="6994525"/>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11523598"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4356100"/>
            <a:ext cx="11523599" cy="1541993"/>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2" y="296380"/>
            <a:ext cx="1968534" cy="422621"/>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83554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1586"/>
            <a:ext cx="12433300" cy="6993135"/>
          </a:xfrm>
          <a:prstGeom prst="rect">
            <a:avLst/>
          </a:prstGeom>
        </p:spPr>
      </p:pic>
      <p:sp>
        <p:nvSpPr>
          <p:cNvPr id="2" name="Rectangle 1"/>
          <p:cNvSpPr/>
          <p:nvPr userDrawn="1"/>
        </p:nvSpPr>
        <p:spPr bwMode="auto">
          <a:xfrm>
            <a:off x="274638" y="2125663"/>
            <a:ext cx="6400800" cy="3657600"/>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150099" y="479775"/>
            <a:ext cx="1828795" cy="391754"/>
          </a:xfrm>
          <a:prstGeom prst="rect">
            <a:avLst/>
          </a:prstGeom>
        </p:spPr>
      </p:pic>
    </p:spTree>
    <p:extLst>
      <p:ext uri="{BB962C8B-B14F-4D97-AF65-F5344CB8AC3E}">
        <p14:creationId xmlns:p14="http://schemas.microsoft.com/office/powerpoint/2010/main" val="132477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80" y="479425"/>
            <a:ext cx="1828800" cy="393896"/>
          </a:xfrm>
          <a:prstGeom prst="rect">
            <a:avLst/>
          </a:prstGeom>
        </p:spPr>
      </p:pic>
    </p:spTree>
    <p:extLst>
      <p:ext uri="{BB962C8B-B14F-4D97-AF65-F5344CB8AC3E}">
        <p14:creationId xmlns:p14="http://schemas.microsoft.com/office/powerpoint/2010/main" val="2244603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82949251"/>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8639413"/>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120305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7607760"/>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515591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44027207"/>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182642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051672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345558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9276390"/>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270372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280" y="3168586"/>
            <a:ext cx="11378776" cy="1017048"/>
          </a:xfrm>
        </p:spPr>
        <p:txBody>
          <a:bodyPr anchor="b" anchorCtr="0"/>
          <a:lstStyle>
            <a:lvl1pPr>
              <a:defRPr sz="7338" spc="-154"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31280" y="4749134"/>
            <a:ext cx="11378776"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745590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8594768"/>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87017547"/>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838882"/>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20241"/>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474089"/>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549165"/>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384897"/>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119582148"/>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17629"/>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280" y="3168586"/>
            <a:ext cx="11378776" cy="1017048"/>
          </a:xfrm>
        </p:spPr>
        <p:txBody>
          <a:bodyPr anchor="b" anchorCtr="0"/>
          <a:lstStyle>
            <a:lvl1pPr>
              <a:defRPr sz="7338" spc="-154"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31280" y="4749134"/>
            <a:ext cx="11378776"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267618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marL="0" marR="0" lvl="0" indent="0" algn="l" defTabSz="932688" rtl="0" eaLnBrk="1" fontAlgn="auto" latinLnBrk="0" hangingPunct="1">
              <a:lnSpc>
                <a:spcPct val="90000"/>
              </a:lnSpc>
              <a:spcBef>
                <a:spcPts val="0"/>
              </a:spcBef>
              <a:spcAft>
                <a:spcPts val="0"/>
              </a:spcAft>
              <a:buClrTx/>
              <a:buSzTx/>
              <a:buFontTx/>
              <a:buNone/>
              <a:tabLst/>
              <a:defRPr/>
            </a:pPr>
            <a:fld id="{1BC86A1F-E589-44B2-A543-2EC98F5547A7}" type="slidenum">
              <a:rPr kumimoji="0" sz="1836" b="0" i="0" u="none" strike="noStrike" kern="1200" cap="none" spc="0" normalizeH="0" baseline="0" noProof="0">
                <a:ln>
                  <a:noFill/>
                </a:ln>
                <a:solidFill>
                  <a:srgbClr val="D2D2D2"/>
                </a:solidFill>
                <a:effectLst/>
                <a:uLnTx/>
                <a:uFillTx/>
                <a:latin typeface="Segoe UI"/>
                <a:ea typeface="+mn-ea"/>
                <a:cs typeface="+mn-cs"/>
              </a:rPr>
              <a:pPr marL="0" marR="0" lvl="0" indent="0" algn="l" defTabSz="932688" rtl="0" eaLnBrk="1" fontAlgn="auto" latinLnBrk="0" hangingPunct="1">
                <a:lnSpc>
                  <a:spcPct val="90000"/>
                </a:lnSpc>
                <a:spcBef>
                  <a:spcPts val="0"/>
                </a:spcBef>
                <a:spcAft>
                  <a:spcPts val="0"/>
                </a:spcAft>
                <a:buClrTx/>
                <a:buSzTx/>
                <a:buFontTx/>
                <a:buNone/>
                <a:tabLst/>
                <a:defRPr/>
              </a:pPr>
              <a:t>‹#›</a:t>
            </a:fld>
            <a:endParaRPr kumimoji="0" sz="1836" b="0" i="0" u="none" strike="noStrike" kern="1200" cap="none" spc="0" normalizeH="0" baseline="0" noProof="0" dirty="0">
              <a:ln>
                <a:noFill/>
              </a:ln>
              <a:solidFill>
                <a:srgbClr val="D2D2D2"/>
              </a:solidFill>
              <a:effectLst/>
              <a:uLnTx/>
              <a:uFillTx/>
              <a:latin typeface="Segoe UI"/>
              <a:ea typeface="+mn-ea"/>
              <a:cs typeface="+mn-cs"/>
            </a:endParaRPr>
          </a:p>
        </p:txBody>
      </p:sp>
    </p:spTree>
    <p:extLst>
      <p:ext uri="{BB962C8B-B14F-4D97-AF65-F5344CB8AC3E}">
        <p14:creationId xmlns:p14="http://schemas.microsoft.com/office/powerpoint/2010/main" val="2830883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31529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941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4817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35630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1104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160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551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803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180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1371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60171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7087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37630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endParaRPr lang="en-US">
              <a:solidFill>
                <a:srgbClr val="505050"/>
              </a:solidFill>
            </a:endParaRPr>
          </a:p>
        </p:txBody>
      </p:sp>
    </p:spTree>
    <p:extLst>
      <p:ext uri="{BB962C8B-B14F-4D97-AF65-F5344CB8AC3E}">
        <p14:creationId xmlns:p14="http://schemas.microsoft.com/office/powerpoint/2010/main" val="4216378068"/>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70117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3743713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5588927"/>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3700513"/>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9739354"/>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2182128"/>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762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16790375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8361426"/>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4090001"/>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2086056"/>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5171153"/>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32165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27953136"/>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413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1189"/>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377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39659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251646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14972580"/>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906983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271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7414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763535"/>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463589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6823633"/>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389286"/>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1496664"/>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98383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046540628"/>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902188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225469"/>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323431"/>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4604455"/>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2451227"/>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493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60649767"/>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83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289034"/>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752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887123"/>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40112682"/>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1383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249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2791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marL="0" marR="0" lvl="0" indent="0" algn="l" defTabSz="1109758"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prstClr val="white"/>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prstClr val="white"/>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1790422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51121" rtl="0" eaLnBrk="1" fontAlgn="auto" latinLnBrk="0" hangingPunct="1">
              <a:lnSpc>
                <a:spcPts val="3060"/>
              </a:lnSpc>
              <a:spcBef>
                <a:spcPts val="0"/>
              </a:spcBef>
              <a:spcAft>
                <a:spcPts val="1223"/>
              </a:spcAft>
              <a:buClrTx/>
              <a:buSzTx/>
              <a:buFontTx/>
              <a:buNone/>
              <a:tabLst/>
              <a:defRPr/>
            </a:pPr>
            <a:r>
              <a:rPr kumimoji="0" lang="en-US" sz="2244" b="0" i="0" u="none" strike="noStrike" kern="1200" cap="none" spc="-104"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4091350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0952012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58537957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192192556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339868706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36514123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617200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5449219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25253394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38549804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spTree>
    <p:extLst>
      <p:ext uri="{BB962C8B-B14F-4D97-AF65-F5344CB8AC3E}">
        <p14:creationId xmlns:p14="http://schemas.microsoft.com/office/powerpoint/2010/main" val="6093726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82778521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350608206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531642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931777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417234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777942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8251795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1492756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32372" rtl="0" eaLnBrk="1" fontAlgn="auto" latinLnBrk="0" hangingPunct="1">
              <a:lnSpc>
                <a:spcPct val="90000"/>
              </a:lnSpc>
              <a:spcBef>
                <a:spcPct val="0"/>
              </a:spcBef>
              <a:spcAft>
                <a:spcPts val="0"/>
              </a:spcAft>
              <a:buClrTx/>
              <a:buSzTx/>
              <a:buFontTx/>
              <a:buNone/>
              <a:tabLst/>
              <a:defRPr/>
            </a:pPr>
            <a:r>
              <a:rPr kumimoji="0" lang="en-US" sz="4080" b="0" i="0" u="none" strike="noStrike" kern="1200" cap="none" spc="-102"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196376774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8839733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278272280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250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250028579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16504267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1331002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34" Type="http://schemas.openxmlformats.org/officeDocument/2006/relationships/image" Target="../media/image86.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33" Type="http://schemas.openxmlformats.org/officeDocument/2006/relationships/theme" Target="../theme/theme10.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slideLayout" Target="../slideLayouts/slideLayout207.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32" Type="http://schemas.openxmlformats.org/officeDocument/2006/relationships/slideLayout" Target="../slideLayouts/slideLayout210.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slideLayout" Target="../slideLayouts/slideLayout209.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 Id="rId35" Type="http://schemas.openxmlformats.org/officeDocument/2006/relationships/image" Target="../media/image1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theme" Target="../theme/theme1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26" Type="http://schemas.openxmlformats.org/officeDocument/2006/relationships/slideLayout" Target="../slideLayouts/slideLayout254.x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slideLayout" Target="../slideLayouts/slideLayout253.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29" Type="http://schemas.openxmlformats.org/officeDocument/2006/relationships/slideLayout" Target="../slideLayouts/slideLayout257.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slideLayout" Target="../slideLayouts/slideLayout252.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28" Type="http://schemas.openxmlformats.org/officeDocument/2006/relationships/slideLayout" Target="../slideLayouts/slideLayout256.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31" Type="http://schemas.openxmlformats.org/officeDocument/2006/relationships/theme" Target="../theme/theme12.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slideLayout" Target="../slideLayouts/slideLayout255.xml"/><Relationship Id="rId30" Type="http://schemas.openxmlformats.org/officeDocument/2006/relationships/slideLayout" Target="../slideLayouts/slideLayout25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34" Type="http://schemas.openxmlformats.org/officeDocument/2006/relationships/theme" Target="../theme/theme13.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slideLayout" Target="../slideLayouts/slideLayout291.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29" Type="http://schemas.openxmlformats.org/officeDocument/2006/relationships/slideLayout" Target="../slideLayouts/slideLayout287.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slideLayout" Target="../slideLayouts/slideLayout290.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image" Target="../media/image16.png"/><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slideLayout" Target="../slideLayouts/slideLayout289.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35" Type="http://schemas.openxmlformats.org/officeDocument/2006/relationships/image" Target="../media/image15.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theme" Target="../theme/theme14.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slideLayout" Target="../slideLayouts/slideLayout342.xml"/><Relationship Id="rId3" Type="http://schemas.openxmlformats.org/officeDocument/2006/relationships/slideLayout" Target="../slideLayouts/slideLayout319.xml"/><Relationship Id="rId21" Type="http://schemas.openxmlformats.org/officeDocument/2006/relationships/slideLayout" Target="../slideLayouts/slideLayout337.xml"/><Relationship Id="rId34" Type="http://schemas.openxmlformats.org/officeDocument/2006/relationships/slideLayout" Target="../slideLayouts/slideLayout350.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slideLayout" Target="../slideLayouts/slideLayout341.xml"/><Relationship Id="rId33" Type="http://schemas.openxmlformats.org/officeDocument/2006/relationships/slideLayout" Target="../slideLayouts/slideLayout349.xml"/><Relationship Id="rId38" Type="http://schemas.openxmlformats.org/officeDocument/2006/relationships/theme" Target="../theme/theme15.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slideLayout" Target="../slideLayouts/slideLayout336.xml"/><Relationship Id="rId29" Type="http://schemas.openxmlformats.org/officeDocument/2006/relationships/slideLayout" Target="../slideLayouts/slideLayout345.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slideLayout" Target="../slideLayouts/slideLayout340.xml"/><Relationship Id="rId32" Type="http://schemas.openxmlformats.org/officeDocument/2006/relationships/slideLayout" Target="../slideLayouts/slideLayout348.xml"/><Relationship Id="rId37" Type="http://schemas.openxmlformats.org/officeDocument/2006/relationships/slideLayout" Target="../slideLayouts/slideLayout353.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slideLayout" Target="../slideLayouts/slideLayout339.xml"/><Relationship Id="rId28" Type="http://schemas.openxmlformats.org/officeDocument/2006/relationships/slideLayout" Target="../slideLayouts/slideLayout344.xml"/><Relationship Id="rId36" Type="http://schemas.openxmlformats.org/officeDocument/2006/relationships/slideLayout" Target="../slideLayouts/slideLayout352.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31" Type="http://schemas.openxmlformats.org/officeDocument/2006/relationships/slideLayout" Target="../slideLayouts/slideLayout347.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slideLayout" Target="../slideLayouts/slideLayout338.xml"/><Relationship Id="rId27" Type="http://schemas.openxmlformats.org/officeDocument/2006/relationships/slideLayout" Target="../slideLayouts/slideLayout343.xml"/><Relationship Id="rId30" Type="http://schemas.openxmlformats.org/officeDocument/2006/relationships/slideLayout" Target="../slideLayouts/slideLayout346.xml"/><Relationship Id="rId35" Type="http://schemas.openxmlformats.org/officeDocument/2006/relationships/slideLayout" Target="../slideLayouts/slideLayout35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26" Type="http://schemas.openxmlformats.org/officeDocument/2006/relationships/slideLayout" Target="../slideLayouts/slideLayout379.xml"/><Relationship Id="rId3" Type="http://schemas.openxmlformats.org/officeDocument/2006/relationships/slideLayout" Target="../slideLayouts/slideLayout356.xml"/><Relationship Id="rId21" Type="http://schemas.openxmlformats.org/officeDocument/2006/relationships/slideLayout" Target="../slideLayouts/slideLayout374.xml"/><Relationship Id="rId34" Type="http://schemas.openxmlformats.org/officeDocument/2006/relationships/slideLayout" Target="../slideLayouts/slideLayout387.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5" Type="http://schemas.openxmlformats.org/officeDocument/2006/relationships/slideLayout" Target="../slideLayouts/slideLayout378.xml"/><Relationship Id="rId33" Type="http://schemas.openxmlformats.org/officeDocument/2006/relationships/slideLayout" Target="../slideLayouts/slideLayout386.xml"/><Relationship Id="rId38" Type="http://schemas.openxmlformats.org/officeDocument/2006/relationships/theme" Target="../theme/theme16.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29" Type="http://schemas.openxmlformats.org/officeDocument/2006/relationships/slideLayout" Target="../slideLayouts/slideLayout382.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24" Type="http://schemas.openxmlformats.org/officeDocument/2006/relationships/slideLayout" Target="../slideLayouts/slideLayout377.xml"/><Relationship Id="rId32" Type="http://schemas.openxmlformats.org/officeDocument/2006/relationships/slideLayout" Target="../slideLayouts/slideLayout385.xml"/><Relationship Id="rId37" Type="http://schemas.openxmlformats.org/officeDocument/2006/relationships/slideLayout" Target="../slideLayouts/slideLayout390.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slideLayout" Target="../slideLayouts/slideLayout376.xml"/><Relationship Id="rId28" Type="http://schemas.openxmlformats.org/officeDocument/2006/relationships/slideLayout" Target="../slideLayouts/slideLayout381.xml"/><Relationship Id="rId36" Type="http://schemas.openxmlformats.org/officeDocument/2006/relationships/slideLayout" Target="../slideLayouts/slideLayout389.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31" Type="http://schemas.openxmlformats.org/officeDocument/2006/relationships/slideLayout" Target="../slideLayouts/slideLayout384.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slideLayout" Target="../slideLayouts/slideLayout375.xml"/><Relationship Id="rId27" Type="http://schemas.openxmlformats.org/officeDocument/2006/relationships/slideLayout" Target="../slideLayouts/slideLayout380.xml"/><Relationship Id="rId30" Type="http://schemas.openxmlformats.org/officeDocument/2006/relationships/slideLayout" Target="../slideLayouts/slideLayout383.xml"/><Relationship Id="rId35" Type="http://schemas.openxmlformats.org/officeDocument/2006/relationships/slideLayout" Target="../slideLayouts/slideLayout3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26" Type="http://schemas.openxmlformats.org/officeDocument/2006/relationships/slideLayout" Target="../slideLayouts/slideLayout416.xml"/><Relationship Id="rId3" Type="http://schemas.openxmlformats.org/officeDocument/2006/relationships/slideLayout" Target="../slideLayouts/slideLayout393.xml"/><Relationship Id="rId21" Type="http://schemas.openxmlformats.org/officeDocument/2006/relationships/slideLayout" Target="../slideLayouts/slideLayout411.xml"/><Relationship Id="rId34" Type="http://schemas.openxmlformats.org/officeDocument/2006/relationships/slideLayout" Target="../slideLayouts/slideLayout424.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5" Type="http://schemas.openxmlformats.org/officeDocument/2006/relationships/slideLayout" Target="../slideLayouts/slideLayout415.xml"/><Relationship Id="rId33" Type="http://schemas.openxmlformats.org/officeDocument/2006/relationships/slideLayout" Target="../slideLayouts/slideLayout423.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29" Type="http://schemas.openxmlformats.org/officeDocument/2006/relationships/slideLayout" Target="../slideLayouts/slideLayout419.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24" Type="http://schemas.openxmlformats.org/officeDocument/2006/relationships/slideLayout" Target="../slideLayouts/slideLayout414.xml"/><Relationship Id="rId32" Type="http://schemas.openxmlformats.org/officeDocument/2006/relationships/slideLayout" Target="../slideLayouts/slideLayout422.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23" Type="http://schemas.openxmlformats.org/officeDocument/2006/relationships/slideLayout" Target="../slideLayouts/slideLayout413.xml"/><Relationship Id="rId28" Type="http://schemas.openxmlformats.org/officeDocument/2006/relationships/slideLayout" Target="../slideLayouts/slideLayout418.xml"/><Relationship Id="rId36" Type="http://schemas.openxmlformats.org/officeDocument/2006/relationships/image" Target="../media/image1.png"/><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31" Type="http://schemas.openxmlformats.org/officeDocument/2006/relationships/slideLayout" Target="../slideLayouts/slideLayout421.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 Id="rId22" Type="http://schemas.openxmlformats.org/officeDocument/2006/relationships/slideLayout" Target="../slideLayouts/slideLayout412.xml"/><Relationship Id="rId27" Type="http://schemas.openxmlformats.org/officeDocument/2006/relationships/slideLayout" Target="../slideLayouts/slideLayout417.xml"/><Relationship Id="rId30" Type="http://schemas.openxmlformats.org/officeDocument/2006/relationships/slideLayout" Target="../slideLayouts/slideLayout420.xml"/><Relationship Id="rId35"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slideLayout" Target="../slideLayouts/slideLayout450.xml"/><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slideLayout" Target="../slideLayouts/slideLayout449.xml"/><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slideLayout" Target="../slideLayouts/slideLayout448.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image" Target="../media/image1.png"/><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 Id="rId27"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21" Type="http://schemas.openxmlformats.org/officeDocument/2006/relationships/theme" Target="../theme/theme19.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20" Type="http://schemas.openxmlformats.org/officeDocument/2006/relationships/slideLayout" Target="../slideLayouts/slideLayout470.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slideLayout" Target="../slideLayouts/slideLayout469.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8.xml"/><Relationship Id="rId13" Type="http://schemas.openxmlformats.org/officeDocument/2006/relationships/slideLayout" Target="../slideLayouts/slideLayout483.xml"/><Relationship Id="rId18" Type="http://schemas.openxmlformats.org/officeDocument/2006/relationships/slideLayout" Target="../slideLayouts/slideLayout488.xml"/><Relationship Id="rId26" Type="http://schemas.openxmlformats.org/officeDocument/2006/relationships/slideLayout" Target="../slideLayouts/slideLayout496.xml"/><Relationship Id="rId3" Type="http://schemas.openxmlformats.org/officeDocument/2006/relationships/slideLayout" Target="../slideLayouts/slideLayout473.xml"/><Relationship Id="rId21" Type="http://schemas.openxmlformats.org/officeDocument/2006/relationships/slideLayout" Target="../slideLayouts/slideLayout491.xml"/><Relationship Id="rId7" Type="http://schemas.openxmlformats.org/officeDocument/2006/relationships/slideLayout" Target="../slideLayouts/slideLayout477.xml"/><Relationship Id="rId12" Type="http://schemas.openxmlformats.org/officeDocument/2006/relationships/slideLayout" Target="../slideLayouts/slideLayout482.xml"/><Relationship Id="rId17" Type="http://schemas.openxmlformats.org/officeDocument/2006/relationships/slideLayout" Target="../slideLayouts/slideLayout487.xml"/><Relationship Id="rId25" Type="http://schemas.openxmlformats.org/officeDocument/2006/relationships/slideLayout" Target="../slideLayouts/slideLayout495.xml"/><Relationship Id="rId2" Type="http://schemas.openxmlformats.org/officeDocument/2006/relationships/slideLayout" Target="../slideLayouts/slideLayout472.xml"/><Relationship Id="rId16" Type="http://schemas.openxmlformats.org/officeDocument/2006/relationships/slideLayout" Target="../slideLayouts/slideLayout486.xml"/><Relationship Id="rId20" Type="http://schemas.openxmlformats.org/officeDocument/2006/relationships/slideLayout" Target="../slideLayouts/slideLayout490.xml"/><Relationship Id="rId29" Type="http://schemas.openxmlformats.org/officeDocument/2006/relationships/slideLayout" Target="../slideLayouts/slideLayout499.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slideLayout" Target="../slideLayouts/slideLayout481.xml"/><Relationship Id="rId24" Type="http://schemas.openxmlformats.org/officeDocument/2006/relationships/slideLayout" Target="../slideLayouts/slideLayout494.xml"/><Relationship Id="rId32" Type="http://schemas.openxmlformats.org/officeDocument/2006/relationships/image" Target="../media/image16.png"/><Relationship Id="rId5" Type="http://schemas.openxmlformats.org/officeDocument/2006/relationships/slideLayout" Target="../slideLayouts/slideLayout475.xml"/><Relationship Id="rId15" Type="http://schemas.openxmlformats.org/officeDocument/2006/relationships/slideLayout" Target="../slideLayouts/slideLayout485.xml"/><Relationship Id="rId23" Type="http://schemas.openxmlformats.org/officeDocument/2006/relationships/slideLayout" Target="../slideLayouts/slideLayout493.xml"/><Relationship Id="rId28" Type="http://schemas.openxmlformats.org/officeDocument/2006/relationships/slideLayout" Target="../slideLayouts/slideLayout498.xml"/><Relationship Id="rId10" Type="http://schemas.openxmlformats.org/officeDocument/2006/relationships/slideLayout" Target="../slideLayouts/slideLayout480.xml"/><Relationship Id="rId19" Type="http://schemas.openxmlformats.org/officeDocument/2006/relationships/slideLayout" Target="../slideLayouts/slideLayout489.xml"/><Relationship Id="rId31" Type="http://schemas.openxmlformats.org/officeDocument/2006/relationships/image" Target="../media/image15.png"/><Relationship Id="rId4" Type="http://schemas.openxmlformats.org/officeDocument/2006/relationships/slideLayout" Target="../slideLayouts/slideLayout474.xml"/><Relationship Id="rId9" Type="http://schemas.openxmlformats.org/officeDocument/2006/relationships/slideLayout" Target="../slideLayouts/slideLayout479.xml"/><Relationship Id="rId14" Type="http://schemas.openxmlformats.org/officeDocument/2006/relationships/slideLayout" Target="../slideLayouts/slideLayout484.xml"/><Relationship Id="rId22" Type="http://schemas.openxmlformats.org/officeDocument/2006/relationships/slideLayout" Target="../slideLayouts/slideLayout492.xml"/><Relationship Id="rId27" Type="http://schemas.openxmlformats.org/officeDocument/2006/relationships/slideLayout" Target="../slideLayouts/slideLayout497.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slideLayout" Target="../slideLayouts/slideLayout512.xml"/><Relationship Id="rId18" Type="http://schemas.openxmlformats.org/officeDocument/2006/relationships/slideLayout" Target="../slideLayouts/slideLayout517.xml"/><Relationship Id="rId26" Type="http://schemas.openxmlformats.org/officeDocument/2006/relationships/image" Target="../media/image1.png"/><Relationship Id="rId3" Type="http://schemas.openxmlformats.org/officeDocument/2006/relationships/slideLayout" Target="../slideLayouts/slideLayout502.xml"/><Relationship Id="rId21" Type="http://schemas.openxmlformats.org/officeDocument/2006/relationships/slideLayout" Target="../slideLayouts/slideLayout520.xml"/><Relationship Id="rId7" Type="http://schemas.openxmlformats.org/officeDocument/2006/relationships/slideLayout" Target="../slideLayouts/slideLayout506.xml"/><Relationship Id="rId12" Type="http://schemas.openxmlformats.org/officeDocument/2006/relationships/slideLayout" Target="../slideLayouts/slideLayout511.xml"/><Relationship Id="rId17" Type="http://schemas.openxmlformats.org/officeDocument/2006/relationships/slideLayout" Target="../slideLayouts/slideLayout516.xml"/><Relationship Id="rId25" Type="http://schemas.openxmlformats.org/officeDocument/2006/relationships/theme" Target="../theme/theme21.xml"/><Relationship Id="rId2" Type="http://schemas.openxmlformats.org/officeDocument/2006/relationships/slideLayout" Target="../slideLayouts/slideLayout501.xml"/><Relationship Id="rId16" Type="http://schemas.openxmlformats.org/officeDocument/2006/relationships/slideLayout" Target="../slideLayouts/slideLayout515.xml"/><Relationship Id="rId20" Type="http://schemas.openxmlformats.org/officeDocument/2006/relationships/slideLayout" Target="../slideLayouts/slideLayout519.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slideLayout" Target="../slideLayouts/slideLayout510.xml"/><Relationship Id="rId24" Type="http://schemas.openxmlformats.org/officeDocument/2006/relationships/slideLayout" Target="../slideLayouts/slideLayout523.xml"/><Relationship Id="rId5" Type="http://schemas.openxmlformats.org/officeDocument/2006/relationships/slideLayout" Target="../slideLayouts/slideLayout504.xml"/><Relationship Id="rId15" Type="http://schemas.openxmlformats.org/officeDocument/2006/relationships/slideLayout" Target="../slideLayouts/slideLayout514.xml"/><Relationship Id="rId23" Type="http://schemas.openxmlformats.org/officeDocument/2006/relationships/slideLayout" Target="../slideLayouts/slideLayout522.xml"/><Relationship Id="rId10" Type="http://schemas.openxmlformats.org/officeDocument/2006/relationships/slideLayout" Target="../slideLayouts/slideLayout509.xml"/><Relationship Id="rId19" Type="http://schemas.openxmlformats.org/officeDocument/2006/relationships/slideLayout" Target="../slideLayouts/slideLayout518.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slideLayout" Target="../slideLayouts/slideLayout513.xml"/><Relationship Id="rId22" Type="http://schemas.openxmlformats.org/officeDocument/2006/relationships/slideLayout" Target="../slideLayouts/slideLayout5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31.xml"/><Relationship Id="rId13" Type="http://schemas.openxmlformats.org/officeDocument/2006/relationships/slideLayout" Target="../slideLayouts/slideLayout536.xml"/><Relationship Id="rId18" Type="http://schemas.openxmlformats.org/officeDocument/2006/relationships/slideLayout" Target="../slideLayouts/slideLayout541.xml"/><Relationship Id="rId3" Type="http://schemas.openxmlformats.org/officeDocument/2006/relationships/slideLayout" Target="../slideLayouts/slideLayout526.xml"/><Relationship Id="rId21" Type="http://schemas.openxmlformats.org/officeDocument/2006/relationships/slideLayout" Target="../slideLayouts/slideLayout544.xml"/><Relationship Id="rId7" Type="http://schemas.openxmlformats.org/officeDocument/2006/relationships/slideLayout" Target="../slideLayouts/slideLayout530.xml"/><Relationship Id="rId12" Type="http://schemas.openxmlformats.org/officeDocument/2006/relationships/slideLayout" Target="../slideLayouts/slideLayout535.xml"/><Relationship Id="rId17" Type="http://schemas.openxmlformats.org/officeDocument/2006/relationships/slideLayout" Target="../slideLayouts/slideLayout540.xml"/><Relationship Id="rId25" Type="http://schemas.openxmlformats.org/officeDocument/2006/relationships/image" Target="../media/image122.png"/><Relationship Id="rId2" Type="http://schemas.openxmlformats.org/officeDocument/2006/relationships/slideLayout" Target="../slideLayouts/slideLayout525.xml"/><Relationship Id="rId16" Type="http://schemas.openxmlformats.org/officeDocument/2006/relationships/slideLayout" Target="../slideLayouts/slideLayout539.xml"/><Relationship Id="rId20" Type="http://schemas.openxmlformats.org/officeDocument/2006/relationships/slideLayout" Target="../slideLayouts/slideLayout543.xml"/><Relationship Id="rId1" Type="http://schemas.openxmlformats.org/officeDocument/2006/relationships/slideLayout" Target="../slideLayouts/slideLayout524.xml"/><Relationship Id="rId6" Type="http://schemas.openxmlformats.org/officeDocument/2006/relationships/slideLayout" Target="../slideLayouts/slideLayout529.xml"/><Relationship Id="rId11" Type="http://schemas.openxmlformats.org/officeDocument/2006/relationships/slideLayout" Target="../slideLayouts/slideLayout534.xml"/><Relationship Id="rId24" Type="http://schemas.openxmlformats.org/officeDocument/2006/relationships/theme" Target="../theme/theme22.xml"/><Relationship Id="rId5" Type="http://schemas.openxmlformats.org/officeDocument/2006/relationships/slideLayout" Target="../slideLayouts/slideLayout528.xml"/><Relationship Id="rId15" Type="http://schemas.openxmlformats.org/officeDocument/2006/relationships/slideLayout" Target="../slideLayouts/slideLayout538.xml"/><Relationship Id="rId23" Type="http://schemas.openxmlformats.org/officeDocument/2006/relationships/slideLayout" Target="../slideLayouts/slideLayout546.xml"/><Relationship Id="rId10" Type="http://schemas.openxmlformats.org/officeDocument/2006/relationships/slideLayout" Target="../slideLayouts/slideLayout533.xml"/><Relationship Id="rId19" Type="http://schemas.openxmlformats.org/officeDocument/2006/relationships/slideLayout" Target="../slideLayouts/slideLayout542.xml"/><Relationship Id="rId4" Type="http://schemas.openxmlformats.org/officeDocument/2006/relationships/slideLayout" Target="../slideLayouts/slideLayout527.xml"/><Relationship Id="rId9" Type="http://schemas.openxmlformats.org/officeDocument/2006/relationships/slideLayout" Target="../slideLayouts/slideLayout532.xml"/><Relationship Id="rId14" Type="http://schemas.openxmlformats.org/officeDocument/2006/relationships/slideLayout" Target="../slideLayouts/slideLayout537.xml"/><Relationship Id="rId22" Type="http://schemas.openxmlformats.org/officeDocument/2006/relationships/slideLayout" Target="../slideLayouts/slideLayout54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slideLayout" Target="../slideLayouts/slideLayout559.xml"/><Relationship Id="rId18" Type="http://schemas.openxmlformats.org/officeDocument/2006/relationships/slideLayout" Target="../slideLayouts/slideLayout564.xml"/><Relationship Id="rId26" Type="http://schemas.openxmlformats.org/officeDocument/2006/relationships/slideLayout" Target="../slideLayouts/slideLayout572.xml"/><Relationship Id="rId3" Type="http://schemas.openxmlformats.org/officeDocument/2006/relationships/slideLayout" Target="../slideLayouts/slideLayout549.xml"/><Relationship Id="rId21" Type="http://schemas.openxmlformats.org/officeDocument/2006/relationships/slideLayout" Target="../slideLayouts/slideLayout567.xml"/><Relationship Id="rId34" Type="http://schemas.openxmlformats.org/officeDocument/2006/relationships/theme" Target="../theme/theme23.xml"/><Relationship Id="rId7" Type="http://schemas.openxmlformats.org/officeDocument/2006/relationships/slideLayout" Target="../slideLayouts/slideLayout553.xml"/><Relationship Id="rId12" Type="http://schemas.openxmlformats.org/officeDocument/2006/relationships/slideLayout" Target="../slideLayouts/slideLayout558.xml"/><Relationship Id="rId17" Type="http://schemas.openxmlformats.org/officeDocument/2006/relationships/slideLayout" Target="../slideLayouts/slideLayout563.xml"/><Relationship Id="rId25" Type="http://schemas.openxmlformats.org/officeDocument/2006/relationships/slideLayout" Target="../slideLayouts/slideLayout571.xml"/><Relationship Id="rId33" Type="http://schemas.openxmlformats.org/officeDocument/2006/relationships/slideLayout" Target="../slideLayouts/slideLayout579.xml"/><Relationship Id="rId2" Type="http://schemas.openxmlformats.org/officeDocument/2006/relationships/slideLayout" Target="../slideLayouts/slideLayout548.xml"/><Relationship Id="rId16" Type="http://schemas.openxmlformats.org/officeDocument/2006/relationships/slideLayout" Target="../slideLayouts/slideLayout562.xml"/><Relationship Id="rId20" Type="http://schemas.openxmlformats.org/officeDocument/2006/relationships/slideLayout" Target="../slideLayouts/slideLayout566.xml"/><Relationship Id="rId29" Type="http://schemas.openxmlformats.org/officeDocument/2006/relationships/slideLayout" Target="../slideLayouts/slideLayout575.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slideLayout" Target="../slideLayouts/slideLayout557.xml"/><Relationship Id="rId24" Type="http://schemas.openxmlformats.org/officeDocument/2006/relationships/slideLayout" Target="../slideLayouts/slideLayout570.xml"/><Relationship Id="rId32" Type="http://schemas.openxmlformats.org/officeDocument/2006/relationships/slideLayout" Target="../slideLayouts/slideLayout578.xml"/><Relationship Id="rId5" Type="http://schemas.openxmlformats.org/officeDocument/2006/relationships/slideLayout" Target="../slideLayouts/slideLayout551.xml"/><Relationship Id="rId15" Type="http://schemas.openxmlformats.org/officeDocument/2006/relationships/slideLayout" Target="../slideLayouts/slideLayout561.xml"/><Relationship Id="rId23" Type="http://schemas.openxmlformats.org/officeDocument/2006/relationships/slideLayout" Target="../slideLayouts/slideLayout569.xml"/><Relationship Id="rId28" Type="http://schemas.openxmlformats.org/officeDocument/2006/relationships/slideLayout" Target="../slideLayouts/slideLayout574.xml"/><Relationship Id="rId36" Type="http://schemas.openxmlformats.org/officeDocument/2006/relationships/image" Target="../media/image127.png"/><Relationship Id="rId10" Type="http://schemas.openxmlformats.org/officeDocument/2006/relationships/slideLayout" Target="../slideLayouts/slideLayout556.xml"/><Relationship Id="rId19" Type="http://schemas.openxmlformats.org/officeDocument/2006/relationships/slideLayout" Target="../slideLayouts/slideLayout565.xml"/><Relationship Id="rId31" Type="http://schemas.openxmlformats.org/officeDocument/2006/relationships/slideLayout" Target="../slideLayouts/slideLayout577.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slideLayout" Target="../slideLayouts/slideLayout560.xml"/><Relationship Id="rId22" Type="http://schemas.openxmlformats.org/officeDocument/2006/relationships/slideLayout" Target="../slideLayouts/slideLayout568.xml"/><Relationship Id="rId27" Type="http://schemas.openxmlformats.org/officeDocument/2006/relationships/slideLayout" Target="../slideLayouts/slideLayout573.xml"/><Relationship Id="rId30" Type="http://schemas.openxmlformats.org/officeDocument/2006/relationships/slideLayout" Target="../slideLayouts/slideLayout576.xml"/><Relationship Id="rId35" Type="http://schemas.openxmlformats.org/officeDocument/2006/relationships/image" Target="../media/image126.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26" Type="http://schemas.openxmlformats.org/officeDocument/2006/relationships/theme" Target="../theme/theme24.xml"/><Relationship Id="rId3" Type="http://schemas.openxmlformats.org/officeDocument/2006/relationships/slideLayout" Target="../slideLayouts/slideLayout582.xml"/><Relationship Id="rId21" Type="http://schemas.openxmlformats.org/officeDocument/2006/relationships/slideLayout" Target="../slideLayouts/slideLayout600.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5" Type="http://schemas.openxmlformats.org/officeDocument/2006/relationships/slideLayout" Target="../slideLayouts/slideLayout604.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slideLayout" Target="../slideLayouts/slideLayout599.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24" Type="http://schemas.openxmlformats.org/officeDocument/2006/relationships/slideLayout" Target="../slideLayouts/slideLayout603.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23" Type="http://schemas.openxmlformats.org/officeDocument/2006/relationships/slideLayout" Target="../slideLayouts/slideLayout602.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 Id="rId22" Type="http://schemas.openxmlformats.org/officeDocument/2006/relationships/slideLayout" Target="../slideLayouts/slideLayout601.xml"/><Relationship Id="rId27" Type="http://schemas.openxmlformats.org/officeDocument/2006/relationships/image" Target="../media/image12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612.xml"/><Relationship Id="rId13" Type="http://schemas.openxmlformats.org/officeDocument/2006/relationships/slideLayout" Target="../slideLayouts/slideLayout617.xml"/><Relationship Id="rId18" Type="http://schemas.openxmlformats.org/officeDocument/2006/relationships/slideLayout" Target="../slideLayouts/slideLayout622.xml"/><Relationship Id="rId26" Type="http://schemas.openxmlformats.org/officeDocument/2006/relationships/slideLayout" Target="../slideLayouts/slideLayout630.xml"/><Relationship Id="rId39" Type="http://schemas.openxmlformats.org/officeDocument/2006/relationships/slideLayout" Target="../slideLayouts/slideLayout643.xml"/><Relationship Id="rId3" Type="http://schemas.openxmlformats.org/officeDocument/2006/relationships/slideLayout" Target="../slideLayouts/slideLayout607.xml"/><Relationship Id="rId21" Type="http://schemas.openxmlformats.org/officeDocument/2006/relationships/slideLayout" Target="../slideLayouts/slideLayout625.xml"/><Relationship Id="rId34" Type="http://schemas.openxmlformats.org/officeDocument/2006/relationships/slideLayout" Target="../slideLayouts/slideLayout638.xml"/><Relationship Id="rId42" Type="http://schemas.openxmlformats.org/officeDocument/2006/relationships/slideLayout" Target="../slideLayouts/slideLayout646.xml"/><Relationship Id="rId7" Type="http://schemas.openxmlformats.org/officeDocument/2006/relationships/slideLayout" Target="../slideLayouts/slideLayout611.xml"/><Relationship Id="rId12" Type="http://schemas.openxmlformats.org/officeDocument/2006/relationships/slideLayout" Target="../slideLayouts/slideLayout616.xml"/><Relationship Id="rId17" Type="http://schemas.openxmlformats.org/officeDocument/2006/relationships/slideLayout" Target="../slideLayouts/slideLayout621.xml"/><Relationship Id="rId25" Type="http://schemas.openxmlformats.org/officeDocument/2006/relationships/slideLayout" Target="../slideLayouts/slideLayout629.xml"/><Relationship Id="rId33" Type="http://schemas.openxmlformats.org/officeDocument/2006/relationships/slideLayout" Target="../slideLayouts/slideLayout637.xml"/><Relationship Id="rId38" Type="http://schemas.openxmlformats.org/officeDocument/2006/relationships/slideLayout" Target="../slideLayouts/slideLayout642.xml"/><Relationship Id="rId2" Type="http://schemas.openxmlformats.org/officeDocument/2006/relationships/slideLayout" Target="../slideLayouts/slideLayout606.xml"/><Relationship Id="rId16" Type="http://schemas.openxmlformats.org/officeDocument/2006/relationships/slideLayout" Target="../slideLayouts/slideLayout620.xml"/><Relationship Id="rId20" Type="http://schemas.openxmlformats.org/officeDocument/2006/relationships/slideLayout" Target="../slideLayouts/slideLayout624.xml"/><Relationship Id="rId29" Type="http://schemas.openxmlformats.org/officeDocument/2006/relationships/slideLayout" Target="../slideLayouts/slideLayout633.xml"/><Relationship Id="rId41" Type="http://schemas.openxmlformats.org/officeDocument/2006/relationships/slideLayout" Target="../slideLayouts/slideLayout645.xml"/><Relationship Id="rId1" Type="http://schemas.openxmlformats.org/officeDocument/2006/relationships/slideLayout" Target="../slideLayouts/slideLayout605.xml"/><Relationship Id="rId6" Type="http://schemas.openxmlformats.org/officeDocument/2006/relationships/slideLayout" Target="../slideLayouts/slideLayout610.xml"/><Relationship Id="rId11" Type="http://schemas.openxmlformats.org/officeDocument/2006/relationships/slideLayout" Target="../slideLayouts/slideLayout615.xml"/><Relationship Id="rId24" Type="http://schemas.openxmlformats.org/officeDocument/2006/relationships/slideLayout" Target="../slideLayouts/slideLayout628.xml"/><Relationship Id="rId32" Type="http://schemas.openxmlformats.org/officeDocument/2006/relationships/slideLayout" Target="../slideLayouts/slideLayout636.xml"/><Relationship Id="rId37" Type="http://schemas.openxmlformats.org/officeDocument/2006/relationships/slideLayout" Target="../slideLayouts/slideLayout641.xml"/><Relationship Id="rId40" Type="http://schemas.openxmlformats.org/officeDocument/2006/relationships/slideLayout" Target="../slideLayouts/slideLayout644.xml"/><Relationship Id="rId5" Type="http://schemas.openxmlformats.org/officeDocument/2006/relationships/slideLayout" Target="../slideLayouts/slideLayout609.xml"/><Relationship Id="rId15" Type="http://schemas.openxmlformats.org/officeDocument/2006/relationships/slideLayout" Target="../slideLayouts/slideLayout619.xml"/><Relationship Id="rId23" Type="http://schemas.openxmlformats.org/officeDocument/2006/relationships/slideLayout" Target="../slideLayouts/slideLayout627.xml"/><Relationship Id="rId28" Type="http://schemas.openxmlformats.org/officeDocument/2006/relationships/slideLayout" Target="../slideLayouts/slideLayout632.xml"/><Relationship Id="rId36" Type="http://schemas.openxmlformats.org/officeDocument/2006/relationships/slideLayout" Target="../slideLayouts/slideLayout640.xml"/><Relationship Id="rId10" Type="http://schemas.openxmlformats.org/officeDocument/2006/relationships/slideLayout" Target="../slideLayouts/slideLayout614.xml"/><Relationship Id="rId19" Type="http://schemas.openxmlformats.org/officeDocument/2006/relationships/slideLayout" Target="../slideLayouts/slideLayout623.xml"/><Relationship Id="rId31" Type="http://schemas.openxmlformats.org/officeDocument/2006/relationships/slideLayout" Target="../slideLayouts/slideLayout635.xml"/><Relationship Id="rId44" Type="http://schemas.openxmlformats.org/officeDocument/2006/relationships/theme" Target="../theme/theme25.xml"/><Relationship Id="rId4" Type="http://schemas.openxmlformats.org/officeDocument/2006/relationships/slideLayout" Target="../slideLayouts/slideLayout608.xml"/><Relationship Id="rId9" Type="http://schemas.openxmlformats.org/officeDocument/2006/relationships/slideLayout" Target="../slideLayouts/slideLayout613.xml"/><Relationship Id="rId14" Type="http://schemas.openxmlformats.org/officeDocument/2006/relationships/slideLayout" Target="../slideLayouts/slideLayout618.xml"/><Relationship Id="rId22" Type="http://schemas.openxmlformats.org/officeDocument/2006/relationships/slideLayout" Target="../slideLayouts/slideLayout626.xml"/><Relationship Id="rId27" Type="http://schemas.openxmlformats.org/officeDocument/2006/relationships/slideLayout" Target="../slideLayouts/slideLayout631.xml"/><Relationship Id="rId30" Type="http://schemas.openxmlformats.org/officeDocument/2006/relationships/slideLayout" Target="../slideLayouts/slideLayout634.xml"/><Relationship Id="rId35" Type="http://schemas.openxmlformats.org/officeDocument/2006/relationships/slideLayout" Target="../slideLayouts/slideLayout639.xml"/><Relationship Id="rId43" Type="http://schemas.openxmlformats.org/officeDocument/2006/relationships/slideLayout" Target="../slideLayouts/slideLayout64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55.xml"/><Relationship Id="rId13" Type="http://schemas.openxmlformats.org/officeDocument/2006/relationships/slideLayout" Target="../slideLayouts/slideLayout660.xml"/><Relationship Id="rId18" Type="http://schemas.openxmlformats.org/officeDocument/2006/relationships/slideLayout" Target="../slideLayouts/slideLayout665.xml"/><Relationship Id="rId3" Type="http://schemas.openxmlformats.org/officeDocument/2006/relationships/slideLayout" Target="../slideLayouts/slideLayout650.xml"/><Relationship Id="rId21" Type="http://schemas.openxmlformats.org/officeDocument/2006/relationships/slideLayout" Target="../slideLayouts/slideLayout668.xml"/><Relationship Id="rId7" Type="http://schemas.openxmlformats.org/officeDocument/2006/relationships/slideLayout" Target="../slideLayouts/slideLayout654.xml"/><Relationship Id="rId12" Type="http://schemas.openxmlformats.org/officeDocument/2006/relationships/slideLayout" Target="../slideLayouts/slideLayout659.xml"/><Relationship Id="rId17" Type="http://schemas.openxmlformats.org/officeDocument/2006/relationships/slideLayout" Target="../slideLayouts/slideLayout664.xml"/><Relationship Id="rId25" Type="http://schemas.openxmlformats.org/officeDocument/2006/relationships/image" Target="../media/image1.png"/><Relationship Id="rId2" Type="http://schemas.openxmlformats.org/officeDocument/2006/relationships/slideLayout" Target="../slideLayouts/slideLayout649.xml"/><Relationship Id="rId16" Type="http://schemas.openxmlformats.org/officeDocument/2006/relationships/slideLayout" Target="../slideLayouts/slideLayout663.xml"/><Relationship Id="rId20" Type="http://schemas.openxmlformats.org/officeDocument/2006/relationships/slideLayout" Target="../slideLayouts/slideLayout667.xml"/><Relationship Id="rId1" Type="http://schemas.openxmlformats.org/officeDocument/2006/relationships/slideLayout" Target="../slideLayouts/slideLayout648.xml"/><Relationship Id="rId6" Type="http://schemas.openxmlformats.org/officeDocument/2006/relationships/slideLayout" Target="../slideLayouts/slideLayout653.xml"/><Relationship Id="rId11" Type="http://schemas.openxmlformats.org/officeDocument/2006/relationships/slideLayout" Target="../slideLayouts/slideLayout658.xml"/><Relationship Id="rId24" Type="http://schemas.openxmlformats.org/officeDocument/2006/relationships/theme" Target="../theme/theme26.xml"/><Relationship Id="rId5" Type="http://schemas.openxmlformats.org/officeDocument/2006/relationships/slideLayout" Target="../slideLayouts/slideLayout652.xml"/><Relationship Id="rId15" Type="http://schemas.openxmlformats.org/officeDocument/2006/relationships/slideLayout" Target="../slideLayouts/slideLayout662.xml"/><Relationship Id="rId23" Type="http://schemas.openxmlformats.org/officeDocument/2006/relationships/slideLayout" Target="../slideLayouts/slideLayout670.xml"/><Relationship Id="rId10" Type="http://schemas.openxmlformats.org/officeDocument/2006/relationships/slideLayout" Target="../slideLayouts/slideLayout657.xml"/><Relationship Id="rId19" Type="http://schemas.openxmlformats.org/officeDocument/2006/relationships/slideLayout" Target="../slideLayouts/slideLayout666.xml"/><Relationship Id="rId4" Type="http://schemas.openxmlformats.org/officeDocument/2006/relationships/slideLayout" Target="../slideLayouts/slideLayout651.xml"/><Relationship Id="rId9" Type="http://schemas.openxmlformats.org/officeDocument/2006/relationships/slideLayout" Target="../slideLayouts/slideLayout656.xml"/><Relationship Id="rId14" Type="http://schemas.openxmlformats.org/officeDocument/2006/relationships/slideLayout" Target="../slideLayouts/slideLayout661.xml"/><Relationship Id="rId22" Type="http://schemas.openxmlformats.org/officeDocument/2006/relationships/slideLayout" Target="../slideLayouts/slideLayout66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78.xml"/><Relationship Id="rId13" Type="http://schemas.openxmlformats.org/officeDocument/2006/relationships/slideLayout" Target="../slideLayouts/slideLayout683.xml"/><Relationship Id="rId3" Type="http://schemas.openxmlformats.org/officeDocument/2006/relationships/slideLayout" Target="../slideLayouts/slideLayout673.xml"/><Relationship Id="rId7" Type="http://schemas.openxmlformats.org/officeDocument/2006/relationships/slideLayout" Target="../slideLayouts/slideLayout677.xml"/><Relationship Id="rId12" Type="http://schemas.openxmlformats.org/officeDocument/2006/relationships/slideLayout" Target="../slideLayouts/slideLayout682.xml"/><Relationship Id="rId2" Type="http://schemas.openxmlformats.org/officeDocument/2006/relationships/slideLayout" Target="../slideLayouts/slideLayout672.xml"/><Relationship Id="rId1" Type="http://schemas.openxmlformats.org/officeDocument/2006/relationships/slideLayout" Target="../slideLayouts/slideLayout671.xml"/><Relationship Id="rId6" Type="http://schemas.openxmlformats.org/officeDocument/2006/relationships/slideLayout" Target="../slideLayouts/slideLayout676.xml"/><Relationship Id="rId11" Type="http://schemas.openxmlformats.org/officeDocument/2006/relationships/slideLayout" Target="../slideLayouts/slideLayout681.xml"/><Relationship Id="rId5" Type="http://schemas.openxmlformats.org/officeDocument/2006/relationships/slideLayout" Target="../slideLayouts/slideLayout675.xml"/><Relationship Id="rId10" Type="http://schemas.openxmlformats.org/officeDocument/2006/relationships/slideLayout" Target="../slideLayouts/slideLayout680.xml"/><Relationship Id="rId4" Type="http://schemas.openxmlformats.org/officeDocument/2006/relationships/slideLayout" Target="../slideLayouts/slideLayout674.xml"/><Relationship Id="rId9" Type="http://schemas.openxmlformats.org/officeDocument/2006/relationships/slideLayout" Target="../slideLayouts/slideLayout679.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21" Type="http://schemas.openxmlformats.org/officeDocument/2006/relationships/slideLayout" Target="../slideLayouts/slideLayout704.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slideLayout" Target="../slideLayouts/slideLayout703.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 Id="rId22"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712.xml"/><Relationship Id="rId13" Type="http://schemas.openxmlformats.org/officeDocument/2006/relationships/slideLayout" Target="../slideLayouts/slideLayout717.xml"/><Relationship Id="rId18" Type="http://schemas.openxmlformats.org/officeDocument/2006/relationships/slideLayout" Target="../slideLayouts/slideLayout722.xml"/><Relationship Id="rId3" Type="http://schemas.openxmlformats.org/officeDocument/2006/relationships/slideLayout" Target="../slideLayouts/slideLayout707.xml"/><Relationship Id="rId7" Type="http://schemas.openxmlformats.org/officeDocument/2006/relationships/slideLayout" Target="../slideLayouts/slideLayout711.xml"/><Relationship Id="rId12" Type="http://schemas.openxmlformats.org/officeDocument/2006/relationships/slideLayout" Target="../slideLayouts/slideLayout716.xml"/><Relationship Id="rId17" Type="http://schemas.openxmlformats.org/officeDocument/2006/relationships/slideLayout" Target="../slideLayouts/slideLayout721.xml"/><Relationship Id="rId2" Type="http://schemas.openxmlformats.org/officeDocument/2006/relationships/slideLayout" Target="../slideLayouts/slideLayout706.xml"/><Relationship Id="rId16" Type="http://schemas.openxmlformats.org/officeDocument/2006/relationships/slideLayout" Target="../slideLayouts/slideLayout720.xml"/><Relationship Id="rId20" Type="http://schemas.openxmlformats.org/officeDocument/2006/relationships/theme" Target="../theme/theme29.xml"/><Relationship Id="rId1" Type="http://schemas.openxmlformats.org/officeDocument/2006/relationships/slideLayout" Target="../slideLayouts/slideLayout705.xml"/><Relationship Id="rId6" Type="http://schemas.openxmlformats.org/officeDocument/2006/relationships/slideLayout" Target="../slideLayouts/slideLayout710.xml"/><Relationship Id="rId11" Type="http://schemas.openxmlformats.org/officeDocument/2006/relationships/slideLayout" Target="../slideLayouts/slideLayout715.xml"/><Relationship Id="rId5" Type="http://schemas.openxmlformats.org/officeDocument/2006/relationships/slideLayout" Target="../slideLayouts/slideLayout709.xml"/><Relationship Id="rId15" Type="http://schemas.openxmlformats.org/officeDocument/2006/relationships/slideLayout" Target="../slideLayouts/slideLayout719.xml"/><Relationship Id="rId10" Type="http://schemas.openxmlformats.org/officeDocument/2006/relationships/slideLayout" Target="../slideLayouts/slideLayout714.xml"/><Relationship Id="rId19" Type="http://schemas.openxmlformats.org/officeDocument/2006/relationships/slideLayout" Target="../slideLayouts/slideLayout723.xml"/><Relationship Id="rId4" Type="http://schemas.openxmlformats.org/officeDocument/2006/relationships/slideLayout" Target="../slideLayouts/slideLayout708.xml"/><Relationship Id="rId9" Type="http://schemas.openxmlformats.org/officeDocument/2006/relationships/slideLayout" Target="../slideLayouts/slideLayout713.xml"/><Relationship Id="rId14" Type="http://schemas.openxmlformats.org/officeDocument/2006/relationships/slideLayout" Target="../slideLayouts/slideLayout7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1.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image" Target="../media/image11.emf"/><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oleObject" Target="../embeddings/oleObject1.bin"/><Relationship Id="rId5" Type="http://schemas.openxmlformats.org/officeDocument/2006/relationships/slideLayout" Target="../slideLayouts/slideLayout71.xml"/><Relationship Id="rId10" Type="http://schemas.openxmlformats.org/officeDocument/2006/relationships/tags" Target="../tags/tag1.xml"/><Relationship Id="rId4" Type="http://schemas.openxmlformats.org/officeDocument/2006/relationships/slideLayout" Target="../slideLayouts/slideLayout70.xml"/><Relationship Id="rId9"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theme" Target="../theme/theme5.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image" Target="../media/image16.png"/><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image" Target="../media/image1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5" Type="http://schemas.openxmlformats.org/officeDocument/2006/relationships/slideLayout" Target="../slideLayouts/slideLayout111.xml"/><Relationship Id="rId10" Type="http://schemas.openxmlformats.org/officeDocument/2006/relationships/image" Target="../media/image23.emf"/><Relationship Id="rId4" Type="http://schemas.openxmlformats.org/officeDocument/2006/relationships/slideLayout" Target="../slideLayouts/slideLayout11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17.xml"/><Relationship Id="rId7" Type="http://schemas.openxmlformats.org/officeDocument/2006/relationships/theme" Target="../theme/theme7.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4" Type="http://schemas.openxmlformats.org/officeDocument/2006/relationships/slideLayout" Target="../slideLayouts/slideLayout11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image" Target="../media/image1.png"/><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theme" Target="../theme/theme8.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image" Target="../media/image1.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theme" Target="../theme/theme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238167342"/>
      </p:ext>
    </p:extLst>
  </p:cSld>
  <p:clrMap bg1="lt1" tx1="dk1" bg2="lt2" tx2="dk2" accent1="accent1" accent2="accent2" accent3="accent3" accent4="accent4" accent5="accent5" accent6="accent6" hlink="hlink" folHlink="folHlink"/>
  <p:sldLayoutIdLst>
    <p:sldLayoutId id="2147484518" r:id="rId1"/>
    <p:sldLayoutId id="2147484519" r:id="rId2"/>
    <p:sldLayoutId id="2147484520" r:id="rId3"/>
    <p:sldLayoutId id="2147484521" r:id="rId4"/>
    <p:sldLayoutId id="2147484522" r:id="rId5"/>
    <p:sldLayoutId id="2147484523" r:id="rId6"/>
    <p:sldLayoutId id="2147484524" r:id="rId7"/>
    <p:sldLayoutId id="2147484525" r:id="rId8"/>
    <p:sldLayoutId id="2147484526" r:id="rId9"/>
    <p:sldLayoutId id="2147484527" r:id="rId10"/>
    <p:sldLayoutId id="2147484528" r:id="rId11"/>
    <p:sldLayoutId id="2147484529" r:id="rId12"/>
    <p:sldLayoutId id="2147484530" r:id="rId13"/>
    <p:sldLayoutId id="2147484531" r:id="rId14"/>
    <p:sldLayoutId id="2147484532" r:id="rId15"/>
    <p:sldLayoutId id="2147484533" r:id="rId16"/>
    <p:sldLayoutId id="2147484534" r:id="rId17"/>
    <p:sldLayoutId id="2147484535" r:id="rId18"/>
    <p:sldLayoutId id="2147484536" r:id="rId19"/>
    <p:sldLayoutId id="2147484537" r:id="rId20"/>
    <p:sldLayoutId id="2147484538" r:id="rId21"/>
    <p:sldLayoutId id="2147484539" r:id="rId22"/>
    <p:sldLayoutId id="2147484540" r:id="rId23"/>
    <p:sldLayoutId id="2147484541" r:id="rId24"/>
    <p:sldLayoutId id="2147484542" r:id="rId25"/>
    <p:sldLayoutId id="2147484543" r:id="rId26"/>
    <p:sldLayoutId id="2147484544" r:id="rId27"/>
    <p:sldLayoutId id="2147484545" r:id="rId28"/>
    <p:sldLayoutId id="2147484546" r:id="rId29"/>
    <p:sldLayoutId id="2147484547" r:id="rId30"/>
    <p:sldLayoutId id="2147484548" r:id="rId31"/>
    <p:sldLayoutId id="2147484549" r:id="rId32"/>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8063350"/>
      </p:ext>
    </p:extLst>
  </p:cSld>
  <p:clrMap bg1="dk1" tx1="lt1" bg2="dk2" tx2="lt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9"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833"/>
      </p:ext>
    </p:extLst>
  </p:cSld>
  <p:clrMap bg1="dk1" tx1="lt1" bg2="dk2" tx2="lt2" accent1="accent1" accent2="accent2" accent3="accent3" accent4="accent4" accent5="accent5" accent6="accent6" hlink="hlink" folHlink="folHlink"/>
  <p:sldLayoutIdLst>
    <p:sldLayoutId id="2147484571" r:id="rId1"/>
    <p:sldLayoutId id="2147484572" r:id="rId2"/>
    <p:sldLayoutId id="2147484573" r:id="rId3"/>
    <p:sldLayoutId id="2147484574" r:id="rId4"/>
    <p:sldLayoutId id="2147484575" r:id="rId5"/>
    <p:sldLayoutId id="2147484576" r:id="rId6"/>
    <p:sldLayoutId id="2147484577" r:id="rId7"/>
    <p:sldLayoutId id="2147484578" r:id="rId8"/>
    <p:sldLayoutId id="2147484579" r:id="rId9"/>
    <p:sldLayoutId id="2147484580" r:id="rId10"/>
    <p:sldLayoutId id="2147484581" r:id="rId11"/>
    <p:sldLayoutId id="2147484582" r:id="rId12"/>
    <p:sldLayoutId id="2147484583" r:id="rId13"/>
    <p:sldLayoutId id="2147484584" r:id="rId14"/>
    <p:sldLayoutId id="2147484585" r:id="rId15"/>
    <p:sldLayoutId id="2147484586" r:id="rId16"/>
    <p:sldLayoutId id="2147484587" r:id="rId17"/>
    <p:sldLayoutId id="2147484588" r:id="rId18"/>
    <p:sldLayoutId id="2147484589" r:id="rId19"/>
    <p:sldLayoutId id="2147484590" r:id="rId20"/>
    <p:sldLayoutId id="2147484591" r:id="rId21"/>
    <p:sldLayoutId id="2147484592" r:id="rId22"/>
    <p:sldLayoutId id="2147484593" r:id="rId23"/>
    <p:sldLayoutId id="2147484594" r:id="rId24"/>
    <p:sldLayoutId id="2147484595" r:id="rId25"/>
    <p:sldLayoutId id="2147484596" r:id="rId26"/>
    <p:sldLayoutId id="2147484597" r:id="rId27"/>
    <p:sldLayoutId id="2147484598" r:id="rId28"/>
    <p:sldLayoutId id="2147484599" r:id="rId29"/>
    <p:sldLayoutId id="2147484600"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48653632"/>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4620" r:id="rId18"/>
    <p:sldLayoutId id="2147484621" r:id="rId19"/>
    <p:sldLayoutId id="2147484622" r:id="rId20"/>
    <p:sldLayoutId id="2147484623" r:id="rId21"/>
    <p:sldLayoutId id="2147484624" r:id="rId22"/>
    <p:sldLayoutId id="2147484625" r:id="rId23"/>
    <p:sldLayoutId id="2147484626" r:id="rId24"/>
    <p:sldLayoutId id="2147484627" r:id="rId25"/>
    <p:sldLayoutId id="2147484628" r:id="rId26"/>
    <p:sldLayoutId id="2147484629" r:id="rId27"/>
    <p:sldLayoutId id="2147484630" r:id="rId28"/>
    <p:sldLayoutId id="2147484631" r:id="rId29"/>
    <p:sldLayoutId id="2147484632" r:id="rId30"/>
    <p:sldLayoutId id="2147484633" r:id="rId31"/>
    <p:sldLayoutId id="2147484634" r:id="rId32"/>
    <p:sldLayoutId id="2147484635" r:id="rId33"/>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185906637"/>
      </p:ext>
    </p:extLst>
  </p:cSld>
  <p:clrMap bg1="dk1" tx1="lt1" bg2="dk2" tx2="lt2" accent1="accent1" accent2="accent2" accent3="accent3" accent4="accent4" accent5="accent5" accent6="accent6" hlink="hlink" folHlink="folHlink"/>
  <p:sldLayoutIdLst>
    <p:sldLayoutId id="2147484649" r:id="rId1"/>
    <p:sldLayoutId id="2147484650" r:id="rId2"/>
    <p:sldLayoutId id="2147484651" r:id="rId3"/>
    <p:sldLayoutId id="2147484652" r:id="rId4"/>
    <p:sldLayoutId id="2147484653" r:id="rId5"/>
    <p:sldLayoutId id="2147484654" r:id="rId6"/>
    <p:sldLayoutId id="2147484655" r:id="rId7"/>
    <p:sldLayoutId id="2147484656" r:id="rId8"/>
    <p:sldLayoutId id="2147484657" r:id="rId9"/>
    <p:sldLayoutId id="2147484658" r:id="rId10"/>
    <p:sldLayoutId id="2147484659" r:id="rId11"/>
    <p:sldLayoutId id="2147484660" r:id="rId12"/>
    <p:sldLayoutId id="2147484661" r:id="rId13"/>
    <p:sldLayoutId id="2147484662" r:id="rId14"/>
    <p:sldLayoutId id="2147484663" r:id="rId15"/>
    <p:sldLayoutId id="2147484664" r:id="rId16"/>
    <p:sldLayoutId id="2147484665" r:id="rId17"/>
    <p:sldLayoutId id="2147484666" r:id="rId18"/>
    <p:sldLayoutId id="2147484667" r:id="rId19"/>
    <p:sldLayoutId id="2147484668" r:id="rId20"/>
    <p:sldLayoutId id="2147484669" r:id="rId21"/>
    <p:sldLayoutId id="2147484670" r:id="rId22"/>
    <p:sldLayoutId id="2147484671" r:id="rId23"/>
    <p:sldLayoutId id="2147484672" r:id="rId24"/>
    <p:sldLayoutId id="2147484673" r:id="rId25"/>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5" y="-8394"/>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114"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114"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973424510"/>
      </p:ext>
    </p:extLst>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 id="2147484690" r:id="rId11"/>
    <p:sldLayoutId id="2147484691" r:id="rId12"/>
    <p:sldLayoutId id="2147484692" r:id="rId13"/>
    <p:sldLayoutId id="2147484693" r:id="rId14"/>
    <p:sldLayoutId id="2147484694" r:id="rId15"/>
    <p:sldLayoutId id="2147484695" r:id="rId16"/>
    <p:sldLayoutId id="2147484696" r:id="rId17"/>
    <p:sldLayoutId id="2147484697" r:id="rId18"/>
    <p:sldLayoutId id="2147484698" r:id="rId19"/>
    <p:sldLayoutId id="2147484699" r:id="rId20"/>
    <p:sldLayoutId id="2147484700" r:id="rId21"/>
    <p:sldLayoutId id="2147484701" r:id="rId22"/>
    <p:sldLayoutId id="2147484702" r:id="rId23"/>
    <p:sldLayoutId id="2147484703" r:id="rId24"/>
    <p:sldLayoutId id="2147484704" r:id="rId25"/>
    <p:sldLayoutId id="2147484705" r:id="rId26"/>
    <p:sldLayoutId id="2147484706" r:id="rId27"/>
    <p:sldLayoutId id="2147484707" r:id="rId28"/>
    <p:sldLayoutId id="2147484708" r:id="rId29"/>
    <p:sldLayoutId id="2147484709" r:id="rId30"/>
    <p:sldLayoutId id="2147484710" r:id="rId31"/>
    <p:sldLayoutId id="2147484711" r:id="rId32"/>
    <p:sldLayoutId id="2147484712" r:id="rId33"/>
    <p:sldLayoutId id="2147484713" r:id="rId34"/>
    <p:sldLayoutId id="2147484714" r:id="rId35"/>
    <p:sldLayoutId id="2147484715" r:id="rId36"/>
    <p:sldLayoutId id="2147484716" r:id="rId37"/>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074372020"/>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 id="2147484742" r:id="rId25"/>
    <p:sldLayoutId id="2147484743" r:id="rId26"/>
    <p:sldLayoutId id="2147484744" r:id="rId27"/>
    <p:sldLayoutId id="2147484745" r:id="rId28"/>
    <p:sldLayoutId id="2147484746" r:id="rId29"/>
    <p:sldLayoutId id="2147484747" r:id="rId30"/>
    <p:sldLayoutId id="2147484748" r:id="rId31"/>
    <p:sldLayoutId id="2147484749" r:id="rId32"/>
    <p:sldLayoutId id="2147484750" r:id="rId33"/>
    <p:sldLayoutId id="2147484751" r:id="rId34"/>
    <p:sldLayoutId id="2147484752" r:id="rId35"/>
    <p:sldLayoutId id="2147484753" r:id="rId36"/>
    <p:sldLayoutId id="2147484754"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455197" y="3050513"/>
            <a:ext cx="6995160" cy="894134"/>
          </a:xfrm>
          <a:prstGeom prst="rect">
            <a:avLst/>
          </a:prstGeom>
        </p:spPr>
      </p:pic>
    </p:spTree>
    <p:extLst>
      <p:ext uri="{BB962C8B-B14F-4D97-AF65-F5344CB8AC3E}">
        <p14:creationId xmlns:p14="http://schemas.microsoft.com/office/powerpoint/2010/main" val="3458549782"/>
      </p:ext>
    </p:extLst>
  </p:cSld>
  <p:clrMap bg1="dk1" tx1="lt1" bg2="dk2" tx2="lt2" accent1="accent1" accent2="accent2" accent3="accent3" accent4="accent4" accent5="accent5" accent6="accent6" hlink="hlink" folHlink="folHlink"/>
  <p:sldLayoutIdLst>
    <p:sldLayoutId id="2147484756"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4767" r:id="rId12"/>
    <p:sldLayoutId id="2147484768" r:id="rId13"/>
    <p:sldLayoutId id="2147484769" r:id="rId14"/>
    <p:sldLayoutId id="2147484770" r:id="rId15"/>
    <p:sldLayoutId id="2147484771" r:id="rId16"/>
    <p:sldLayoutId id="2147484772" r:id="rId17"/>
    <p:sldLayoutId id="2147484773" r:id="rId18"/>
    <p:sldLayoutId id="2147484774" r:id="rId19"/>
    <p:sldLayoutId id="2147484775" r:id="rId20"/>
    <p:sldLayoutId id="2147484776" r:id="rId21"/>
    <p:sldLayoutId id="2147484777" r:id="rId22"/>
    <p:sldLayoutId id="2147484778" r:id="rId23"/>
    <p:sldLayoutId id="2147484779" r:id="rId24"/>
    <p:sldLayoutId id="2147484780" r:id="rId25"/>
    <p:sldLayoutId id="2147484781" r:id="rId26"/>
    <p:sldLayoutId id="2147484782" r:id="rId27"/>
    <p:sldLayoutId id="2147484783" r:id="rId28"/>
    <p:sldLayoutId id="2147484784" r:id="rId29"/>
    <p:sldLayoutId id="2147484785" r:id="rId30"/>
    <p:sldLayoutId id="2147484786" r:id="rId31"/>
    <p:sldLayoutId id="2147484787" r:id="rId32"/>
    <p:sldLayoutId id="2147484788" r:id="rId33"/>
    <p:sldLayoutId id="2147484789" r:id="rId3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589865788"/>
      </p:ext>
    </p:extLst>
  </p:cSld>
  <p:clrMap bg1="dk1" tx1="lt1" bg2="dk2" tx2="lt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7"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59624791"/>
      </p:ext>
    </p:extLst>
  </p:cSld>
  <p:clrMap bg1="dk1" tx1="lt1" bg2="dk2" tx2="lt2" accent1="accent1" accent2="accent2" accent3="accent3" accent4="accent4" accent5="accent5" accent6="accent6" hlink="hlink" folHlink="folHlink"/>
  <p:sldLayoutIdLst>
    <p:sldLayoutId id="2147484827" r:id="rId1"/>
    <p:sldLayoutId id="2147484828" r:id="rId2"/>
    <p:sldLayoutId id="2147484831" r:id="rId3"/>
    <p:sldLayoutId id="2147484832" r:id="rId4"/>
    <p:sldLayoutId id="2147484833" r:id="rId5"/>
    <p:sldLayoutId id="2147484834" r:id="rId6"/>
    <p:sldLayoutId id="2147484835" r:id="rId7"/>
    <p:sldLayoutId id="2147484836" r:id="rId8"/>
    <p:sldLayoutId id="2147484837" r:id="rId9"/>
    <p:sldLayoutId id="2147484838" r:id="rId10"/>
    <p:sldLayoutId id="2147484839" r:id="rId11"/>
    <p:sldLayoutId id="2147484840" r:id="rId12"/>
    <p:sldLayoutId id="2147484841" r:id="rId13"/>
    <p:sldLayoutId id="2147484843" r:id="rId14"/>
    <p:sldLayoutId id="2147484844" r:id="rId15"/>
    <p:sldLayoutId id="2147484845" r:id="rId16"/>
    <p:sldLayoutId id="2147484846" r:id="rId17"/>
    <p:sldLayoutId id="2147484847" r:id="rId18"/>
    <p:sldLayoutId id="2147484848" r:id="rId19"/>
    <p:sldLayoutId id="2147484849"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46334731"/>
      </p:ext>
    </p:extLst>
  </p:cSld>
  <p:clrMap bg1="lt1" tx1="dk1" bg2="lt2" tx2="dk2" accent1="accent1" accent2="accent2" accent3="accent3" accent4="accent4" accent5="accent5" accent6="accent6" hlink="hlink" folHlink="folHlink"/>
  <p:sldLayoutIdLst>
    <p:sldLayoutId id="2147484851" r:id="rId1"/>
    <p:sldLayoutId id="2147484852" r:id="rId2"/>
    <p:sldLayoutId id="2147484853" r:id="rId3"/>
    <p:sldLayoutId id="2147484854" r:id="rId4"/>
    <p:sldLayoutId id="2147484856" r:id="rId5"/>
    <p:sldLayoutId id="2147484858" r:id="rId6"/>
    <p:sldLayoutId id="2147484859" r:id="rId7"/>
    <p:sldLayoutId id="2147484860" r:id="rId8"/>
    <p:sldLayoutId id="2147484861" r:id="rId9"/>
    <p:sldLayoutId id="2147484862" r:id="rId10"/>
    <p:sldLayoutId id="2147484863" r:id="rId11"/>
    <p:sldLayoutId id="2147484864" r:id="rId12"/>
    <p:sldLayoutId id="2147484865" r:id="rId13"/>
    <p:sldLayoutId id="2147484866" r:id="rId14"/>
    <p:sldLayoutId id="2147484867" r:id="rId15"/>
    <p:sldLayoutId id="2147484868" r:id="rId16"/>
    <p:sldLayoutId id="2147484869" r:id="rId17"/>
    <p:sldLayoutId id="2147484870" r:id="rId18"/>
    <p:sldLayoutId id="2147484872" r:id="rId19"/>
    <p:sldLayoutId id="2147484873" r:id="rId20"/>
    <p:sldLayoutId id="2147484874" r:id="rId21"/>
    <p:sldLayoutId id="2147484875" r:id="rId22"/>
    <p:sldLayoutId id="2147484876" r:id="rId23"/>
    <p:sldLayoutId id="2147484877" r:id="rId24"/>
    <p:sldLayoutId id="2147484878" r:id="rId25"/>
    <p:sldLayoutId id="2147484880" r:id="rId26"/>
    <p:sldLayoutId id="2147484881" r:id="rId27"/>
    <p:sldLayoutId id="2147484882" r:id="rId28"/>
    <p:sldLayoutId id="2147484883" r:id="rId29"/>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489150" y="3050515"/>
            <a:ext cx="6995160" cy="894134"/>
          </a:xfrm>
          <a:prstGeom prst="rect">
            <a:avLst/>
          </a:prstGeom>
        </p:spPr>
      </p:pic>
    </p:spTree>
    <p:extLst>
      <p:ext uri="{BB962C8B-B14F-4D97-AF65-F5344CB8AC3E}">
        <p14:creationId xmlns:p14="http://schemas.microsoft.com/office/powerpoint/2010/main" val="1816713974"/>
      </p:ext>
    </p:extLst>
  </p:cSld>
  <p:clrMap bg1="dk1" tx1="lt1" bg2="dk2" tx2="lt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 id="2147484896" r:id="rId12"/>
    <p:sldLayoutId id="2147484897" r:id="rId13"/>
    <p:sldLayoutId id="2147484898" r:id="rId14"/>
    <p:sldLayoutId id="2147484900" r:id="rId15"/>
    <p:sldLayoutId id="2147484901" r:id="rId16"/>
    <p:sldLayoutId id="2147484902" r:id="rId17"/>
    <p:sldLayoutId id="2147484903" r:id="rId18"/>
    <p:sldLayoutId id="2147484904" r:id="rId19"/>
    <p:sldLayoutId id="2147484905" r:id="rId20"/>
    <p:sldLayoutId id="2147484906" r:id="rId21"/>
    <p:sldLayoutId id="2147484907" r:id="rId22"/>
    <p:sldLayoutId id="2147484908" r:id="rId23"/>
    <p:sldLayoutId id="2147484909" r:id="rId24"/>
  </p:sldLayoutIdLst>
  <p:transition>
    <p:fade/>
  </p:transition>
  <p:txStyles>
    <p:titleStyle>
      <a:lvl1pPr algn="l" defTabSz="932194" rtl="0" eaLnBrk="1" latinLnBrk="0" hangingPunct="1">
        <a:lnSpc>
          <a:spcPct val="90000"/>
        </a:lnSpc>
        <a:spcBef>
          <a:spcPct val="0"/>
        </a:spcBef>
        <a:buNone/>
        <a:defRPr lang="en-US" sz="53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99" marR="0" indent="-342699"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7" kern="1200" spc="0" baseline="0">
          <a:gradFill>
            <a:gsLst>
              <a:gs pos="1250">
                <a:schemeClr val="tx1"/>
              </a:gs>
              <a:gs pos="100000">
                <a:schemeClr val="tx1"/>
              </a:gs>
            </a:gsLst>
            <a:lin ang="5400000" scaled="0"/>
          </a:gradFill>
          <a:latin typeface="+mj-lt"/>
          <a:ea typeface="+mn-ea"/>
          <a:cs typeface="+mn-cs"/>
        </a:defRPr>
      </a:lvl1pPr>
      <a:lvl2pPr marL="583857" marR="0" indent="-24115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99" kern="1200" spc="0" baseline="0">
          <a:gradFill>
            <a:gsLst>
              <a:gs pos="1250">
                <a:schemeClr val="tx1"/>
              </a:gs>
              <a:gs pos="100000">
                <a:schemeClr val="tx1"/>
              </a:gs>
            </a:gsLst>
            <a:lin ang="5400000" scaled="0"/>
          </a:gradFill>
          <a:latin typeface="+mn-lt"/>
          <a:ea typeface="+mn-ea"/>
          <a:cs typeface="+mn-cs"/>
        </a:defRPr>
      </a:lvl2pPr>
      <a:lvl3pPr marL="799629" marR="0" indent="-22846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99" kern="1200" spc="0" baseline="0">
          <a:gradFill>
            <a:gsLst>
              <a:gs pos="1250">
                <a:schemeClr val="tx1"/>
              </a:gs>
              <a:gs pos="100000">
                <a:schemeClr val="tx1"/>
              </a:gs>
            </a:gsLst>
            <a:lin ang="5400000" scaled="0"/>
          </a:gradFill>
          <a:latin typeface="+mn-lt"/>
          <a:ea typeface="+mn-ea"/>
          <a:cs typeface="+mn-cs"/>
        </a:defRPr>
      </a:lvl3pPr>
      <a:lvl4pPr marL="1028096" marR="0" indent="-22846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4pPr>
      <a:lvl5pPr marL="1256561" marR="0" indent="-22846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5pPr>
      <a:lvl6pPr marL="2563532"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629"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727"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824"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194" rtl="0" eaLnBrk="1" latinLnBrk="0" hangingPunct="1">
        <a:defRPr sz="1799" kern="1200">
          <a:solidFill>
            <a:schemeClr val="tx1"/>
          </a:solidFill>
          <a:latin typeface="+mn-lt"/>
          <a:ea typeface="+mn-ea"/>
          <a:cs typeface="+mn-cs"/>
        </a:defRPr>
      </a:lvl1pPr>
      <a:lvl2pPr marL="466096" algn="l" defTabSz="932194" rtl="0" eaLnBrk="1" latinLnBrk="0" hangingPunct="1">
        <a:defRPr sz="1799" kern="1200">
          <a:solidFill>
            <a:schemeClr val="tx1"/>
          </a:solidFill>
          <a:latin typeface="+mn-lt"/>
          <a:ea typeface="+mn-ea"/>
          <a:cs typeface="+mn-cs"/>
        </a:defRPr>
      </a:lvl2pPr>
      <a:lvl3pPr marL="932194" algn="l" defTabSz="932194" rtl="0" eaLnBrk="1" latinLnBrk="0" hangingPunct="1">
        <a:defRPr sz="1799" kern="1200">
          <a:solidFill>
            <a:schemeClr val="tx1"/>
          </a:solidFill>
          <a:latin typeface="+mn-lt"/>
          <a:ea typeface="+mn-ea"/>
          <a:cs typeface="+mn-cs"/>
        </a:defRPr>
      </a:lvl3pPr>
      <a:lvl4pPr marL="1398290" algn="l" defTabSz="932194" rtl="0" eaLnBrk="1" latinLnBrk="0" hangingPunct="1">
        <a:defRPr sz="1799" kern="1200">
          <a:solidFill>
            <a:schemeClr val="tx1"/>
          </a:solidFill>
          <a:latin typeface="+mn-lt"/>
          <a:ea typeface="+mn-ea"/>
          <a:cs typeface="+mn-cs"/>
        </a:defRPr>
      </a:lvl4pPr>
      <a:lvl5pPr marL="1864387" algn="l" defTabSz="932194" rtl="0" eaLnBrk="1" latinLnBrk="0" hangingPunct="1">
        <a:defRPr sz="1799" kern="1200">
          <a:solidFill>
            <a:schemeClr val="tx1"/>
          </a:solidFill>
          <a:latin typeface="+mn-lt"/>
          <a:ea typeface="+mn-ea"/>
          <a:cs typeface="+mn-cs"/>
        </a:defRPr>
      </a:lvl5pPr>
      <a:lvl6pPr marL="2330485" algn="l" defTabSz="932194" rtl="0" eaLnBrk="1" latinLnBrk="0" hangingPunct="1">
        <a:defRPr sz="1799" kern="1200">
          <a:solidFill>
            <a:schemeClr val="tx1"/>
          </a:solidFill>
          <a:latin typeface="+mn-lt"/>
          <a:ea typeface="+mn-ea"/>
          <a:cs typeface="+mn-cs"/>
        </a:defRPr>
      </a:lvl6pPr>
      <a:lvl7pPr marL="2796581" algn="l" defTabSz="932194" rtl="0" eaLnBrk="1" latinLnBrk="0" hangingPunct="1">
        <a:defRPr sz="1799" kern="1200">
          <a:solidFill>
            <a:schemeClr val="tx1"/>
          </a:solidFill>
          <a:latin typeface="+mn-lt"/>
          <a:ea typeface="+mn-ea"/>
          <a:cs typeface="+mn-cs"/>
        </a:defRPr>
      </a:lvl7pPr>
      <a:lvl8pPr marL="3262677" algn="l" defTabSz="932194" rtl="0" eaLnBrk="1" latinLnBrk="0" hangingPunct="1">
        <a:defRPr sz="1799" kern="1200">
          <a:solidFill>
            <a:schemeClr val="tx1"/>
          </a:solidFill>
          <a:latin typeface="+mn-lt"/>
          <a:ea typeface="+mn-ea"/>
          <a:cs typeface="+mn-cs"/>
        </a:defRPr>
      </a:lvl8pPr>
      <a:lvl9pPr marL="3728776" algn="l" defTabSz="93219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15390764"/>
      </p:ext>
    </p:extLst>
  </p:cSld>
  <p:clrMap bg1="dk1" tx1="lt1" bg2="dk2" tx2="lt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 id="2147484935" r:id="rId20"/>
    <p:sldLayoutId id="2147484936" r:id="rId21"/>
    <p:sldLayoutId id="2147484937" r:id="rId22"/>
    <p:sldLayoutId id="2147484938"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404948376"/>
      </p:ext>
    </p:extLst>
  </p:cSld>
  <p:clrMap bg1="lt1" tx1="dk1" bg2="lt2" tx2="dk2" accent1="accent1" accent2="accent2" accent3="accent3" accent4="accent4" accent5="accent5" accent6="accent6" hlink="hlink" folHlink="folHlink"/>
  <p:sldLayoutIdLst>
    <p:sldLayoutId id="2147484940" r:id="rId1"/>
    <p:sldLayoutId id="2147484941" r:id="rId2"/>
    <p:sldLayoutId id="2147484942" r:id="rId3"/>
    <p:sldLayoutId id="2147484943" r:id="rId4"/>
    <p:sldLayoutId id="2147484944" r:id="rId5"/>
    <p:sldLayoutId id="2147484945" r:id="rId6"/>
    <p:sldLayoutId id="2147484946" r:id="rId7"/>
    <p:sldLayoutId id="2147484947" r:id="rId8"/>
    <p:sldLayoutId id="2147484948" r:id="rId9"/>
    <p:sldLayoutId id="2147484949" r:id="rId10"/>
    <p:sldLayoutId id="2147484950" r:id="rId11"/>
    <p:sldLayoutId id="2147484951" r:id="rId12"/>
    <p:sldLayoutId id="2147484952" r:id="rId13"/>
    <p:sldLayoutId id="2147484953" r:id="rId14"/>
    <p:sldLayoutId id="2147484954" r:id="rId15"/>
    <p:sldLayoutId id="2147484955" r:id="rId16"/>
    <p:sldLayoutId id="2147484956" r:id="rId17"/>
    <p:sldLayoutId id="2147484957" r:id="rId18"/>
    <p:sldLayoutId id="2147484958" r:id="rId19"/>
    <p:sldLayoutId id="2147484959" r:id="rId20"/>
    <p:sldLayoutId id="2147484960" r:id="rId21"/>
    <p:sldLayoutId id="2147484961" r:id="rId22"/>
    <p:sldLayoutId id="2147484962" r:id="rId23"/>
    <p:sldLayoutId id="2147484963" r:id="rId24"/>
    <p:sldLayoutId id="2147484964" r:id="rId25"/>
    <p:sldLayoutId id="2147484965" r:id="rId26"/>
    <p:sldLayoutId id="2147484966" r:id="rId27"/>
    <p:sldLayoutId id="2147484967" r:id="rId28"/>
    <p:sldLayoutId id="2147484968" r:id="rId29"/>
    <p:sldLayoutId id="2147484969" r:id="rId30"/>
    <p:sldLayoutId id="2147484970" r:id="rId31"/>
    <p:sldLayoutId id="2147484971" r:id="rId32"/>
    <p:sldLayoutId id="2147484972" r:id="rId33"/>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489150" y="3050515"/>
            <a:ext cx="6995160" cy="894134"/>
          </a:xfrm>
          <a:prstGeom prst="rect">
            <a:avLst/>
          </a:prstGeom>
        </p:spPr>
      </p:pic>
    </p:spTree>
    <p:extLst>
      <p:ext uri="{BB962C8B-B14F-4D97-AF65-F5344CB8AC3E}">
        <p14:creationId xmlns:p14="http://schemas.microsoft.com/office/powerpoint/2010/main" val="2082533018"/>
      </p:ext>
    </p:extLst>
  </p:cSld>
  <p:clrMap bg1="dk1" tx1="lt1" bg2="dk2" tx2="lt2" accent1="accent1" accent2="accent2" accent3="accent3" accent4="accent4" accent5="accent5" accent6="accent6" hlink="hlink" folHlink="folHlink"/>
  <p:sldLayoutIdLst>
    <p:sldLayoutId id="2147484974" r:id="rId1"/>
    <p:sldLayoutId id="2147484975" r:id="rId2"/>
    <p:sldLayoutId id="2147484976" r:id="rId3"/>
    <p:sldLayoutId id="2147484977" r:id="rId4"/>
    <p:sldLayoutId id="2147484978" r:id="rId5"/>
    <p:sldLayoutId id="2147484979" r:id="rId6"/>
    <p:sldLayoutId id="2147484980" r:id="rId7"/>
    <p:sldLayoutId id="2147484981" r:id="rId8"/>
    <p:sldLayoutId id="2147484982" r:id="rId9"/>
    <p:sldLayoutId id="2147484983" r:id="rId10"/>
    <p:sldLayoutId id="2147484984" r:id="rId11"/>
    <p:sldLayoutId id="2147484985" r:id="rId12"/>
    <p:sldLayoutId id="2147484986" r:id="rId13"/>
    <p:sldLayoutId id="2147484987" r:id="rId14"/>
    <p:sldLayoutId id="2147484988" r:id="rId15"/>
    <p:sldLayoutId id="2147484989" r:id="rId16"/>
    <p:sldLayoutId id="2147484990" r:id="rId17"/>
    <p:sldLayoutId id="2147484991" r:id="rId18"/>
    <p:sldLayoutId id="2147484992" r:id="rId19"/>
    <p:sldLayoutId id="2147484993" r:id="rId20"/>
    <p:sldLayoutId id="2147484994" r:id="rId21"/>
    <p:sldLayoutId id="2147484995" r:id="rId22"/>
    <p:sldLayoutId id="2147484996" r:id="rId23"/>
    <p:sldLayoutId id="2147484997" r:id="rId24"/>
    <p:sldLayoutId id="2147484998" r:id="rId25"/>
  </p:sldLayoutIdLst>
  <p:transition>
    <p:fade/>
  </p:transition>
  <p:txStyles>
    <p:titleStyle>
      <a:lvl1pPr algn="l" defTabSz="932194" rtl="0" eaLnBrk="1" latinLnBrk="0" hangingPunct="1">
        <a:lnSpc>
          <a:spcPct val="90000"/>
        </a:lnSpc>
        <a:spcBef>
          <a:spcPct val="0"/>
        </a:spcBef>
        <a:buNone/>
        <a:defRPr lang="en-US" sz="53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99" marR="0" indent="-342699"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7" kern="1200" spc="0" baseline="0">
          <a:gradFill>
            <a:gsLst>
              <a:gs pos="1250">
                <a:schemeClr val="tx1"/>
              </a:gs>
              <a:gs pos="100000">
                <a:schemeClr val="tx1"/>
              </a:gs>
            </a:gsLst>
            <a:lin ang="5400000" scaled="0"/>
          </a:gradFill>
          <a:latin typeface="+mj-lt"/>
          <a:ea typeface="+mn-ea"/>
          <a:cs typeface="+mn-cs"/>
        </a:defRPr>
      </a:lvl1pPr>
      <a:lvl2pPr marL="583857" marR="0" indent="-24115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99" kern="1200" spc="0" baseline="0">
          <a:gradFill>
            <a:gsLst>
              <a:gs pos="1250">
                <a:schemeClr val="tx1"/>
              </a:gs>
              <a:gs pos="100000">
                <a:schemeClr val="tx1"/>
              </a:gs>
            </a:gsLst>
            <a:lin ang="5400000" scaled="0"/>
          </a:gradFill>
          <a:latin typeface="+mn-lt"/>
          <a:ea typeface="+mn-ea"/>
          <a:cs typeface="+mn-cs"/>
        </a:defRPr>
      </a:lvl2pPr>
      <a:lvl3pPr marL="799629" marR="0" indent="-22846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99" kern="1200" spc="0" baseline="0">
          <a:gradFill>
            <a:gsLst>
              <a:gs pos="1250">
                <a:schemeClr val="tx1"/>
              </a:gs>
              <a:gs pos="100000">
                <a:schemeClr val="tx1"/>
              </a:gs>
            </a:gsLst>
            <a:lin ang="5400000" scaled="0"/>
          </a:gradFill>
          <a:latin typeface="+mn-lt"/>
          <a:ea typeface="+mn-ea"/>
          <a:cs typeface="+mn-cs"/>
        </a:defRPr>
      </a:lvl3pPr>
      <a:lvl4pPr marL="1028096" marR="0" indent="-22846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4pPr>
      <a:lvl5pPr marL="1256561" marR="0" indent="-228467" algn="l" defTabSz="93219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5pPr>
      <a:lvl6pPr marL="2563532"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629"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727"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824" indent="-233048" algn="l" defTabSz="93219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194" rtl="0" eaLnBrk="1" latinLnBrk="0" hangingPunct="1">
        <a:defRPr sz="1799" kern="1200">
          <a:solidFill>
            <a:schemeClr val="tx1"/>
          </a:solidFill>
          <a:latin typeface="+mn-lt"/>
          <a:ea typeface="+mn-ea"/>
          <a:cs typeface="+mn-cs"/>
        </a:defRPr>
      </a:lvl1pPr>
      <a:lvl2pPr marL="466096" algn="l" defTabSz="932194" rtl="0" eaLnBrk="1" latinLnBrk="0" hangingPunct="1">
        <a:defRPr sz="1799" kern="1200">
          <a:solidFill>
            <a:schemeClr val="tx1"/>
          </a:solidFill>
          <a:latin typeface="+mn-lt"/>
          <a:ea typeface="+mn-ea"/>
          <a:cs typeface="+mn-cs"/>
        </a:defRPr>
      </a:lvl2pPr>
      <a:lvl3pPr marL="932194" algn="l" defTabSz="932194" rtl="0" eaLnBrk="1" latinLnBrk="0" hangingPunct="1">
        <a:defRPr sz="1799" kern="1200">
          <a:solidFill>
            <a:schemeClr val="tx1"/>
          </a:solidFill>
          <a:latin typeface="+mn-lt"/>
          <a:ea typeface="+mn-ea"/>
          <a:cs typeface="+mn-cs"/>
        </a:defRPr>
      </a:lvl3pPr>
      <a:lvl4pPr marL="1398290" algn="l" defTabSz="932194" rtl="0" eaLnBrk="1" latinLnBrk="0" hangingPunct="1">
        <a:defRPr sz="1799" kern="1200">
          <a:solidFill>
            <a:schemeClr val="tx1"/>
          </a:solidFill>
          <a:latin typeface="+mn-lt"/>
          <a:ea typeface="+mn-ea"/>
          <a:cs typeface="+mn-cs"/>
        </a:defRPr>
      </a:lvl4pPr>
      <a:lvl5pPr marL="1864387" algn="l" defTabSz="932194" rtl="0" eaLnBrk="1" latinLnBrk="0" hangingPunct="1">
        <a:defRPr sz="1799" kern="1200">
          <a:solidFill>
            <a:schemeClr val="tx1"/>
          </a:solidFill>
          <a:latin typeface="+mn-lt"/>
          <a:ea typeface="+mn-ea"/>
          <a:cs typeface="+mn-cs"/>
        </a:defRPr>
      </a:lvl5pPr>
      <a:lvl6pPr marL="2330485" algn="l" defTabSz="932194" rtl="0" eaLnBrk="1" latinLnBrk="0" hangingPunct="1">
        <a:defRPr sz="1799" kern="1200">
          <a:solidFill>
            <a:schemeClr val="tx1"/>
          </a:solidFill>
          <a:latin typeface="+mn-lt"/>
          <a:ea typeface="+mn-ea"/>
          <a:cs typeface="+mn-cs"/>
        </a:defRPr>
      </a:lvl6pPr>
      <a:lvl7pPr marL="2796581" algn="l" defTabSz="932194" rtl="0" eaLnBrk="1" latinLnBrk="0" hangingPunct="1">
        <a:defRPr sz="1799" kern="1200">
          <a:solidFill>
            <a:schemeClr val="tx1"/>
          </a:solidFill>
          <a:latin typeface="+mn-lt"/>
          <a:ea typeface="+mn-ea"/>
          <a:cs typeface="+mn-cs"/>
        </a:defRPr>
      </a:lvl7pPr>
      <a:lvl8pPr marL="3262677" algn="l" defTabSz="932194" rtl="0" eaLnBrk="1" latinLnBrk="0" hangingPunct="1">
        <a:defRPr sz="1799" kern="1200">
          <a:solidFill>
            <a:schemeClr val="tx1"/>
          </a:solidFill>
          <a:latin typeface="+mn-lt"/>
          <a:ea typeface="+mn-ea"/>
          <a:cs typeface="+mn-cs"/>
        </a:defRPr>
      </a:lvl8pPr>
      <a:lvl9pPr marL="3728776" algn="l" defTabSz="93219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4/21/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050355333"/>
      </p:ext>
    </p:extLst>
  </p:cSld>
  <p:clrMap bg1="lt1" tx1="dk1" bg2="lt2" tx2="dk2" accent1="accent1" accent2="accent2" accent3="accent3" accent4="accent4" accent5="accent5" accent6="accent6" hlink="hlink" folHlink="folHlink"/>
  <p:sldLayoutIdLst>
    <p:sldLayoutId id="2147485000" r:id="rId1"/>
    <p:sldLayoutId id="2147485001" r:id="rId2"/>
    <p:sldLayoutId id="2147485002" r:id="rId3"/>
    <p:sldLayoutId id="2147485003" r:id="rId4"/>
    <p:sldLayoutId id="2147485004" r:id="rId5"/>
    <p:sldLayoutId id="2147485005" r:id="rId6"/>
    <p:sldLayoutId id="2147485006" r:id="rId7"/>
    <p:sldLayoutId id="2147485007" r:id="rId8"/>
    <p:sldLayoutId id="2147485008" r:id="rId9"/>
    <p:sldLayoutId id="2147485009" r:id="rId10"/>
    <p:sldLayoutId id="2147485010" r:id="rId11"/>
    <p:sldLayoutId id="2147485011" r:id="rId12"/>
    <p:sldLayoutId id="2147485012" r:id="rId13"/>
    <p:sldLayoutId id="2147485013" r:id="rId14"/>
    <p:sldLayoutId id="2147485014" r:id="rId15"/>
    <p:sldLayoutId id="2147485015" r:id="rId16"/>
    <p:sldLayoutId id="2147485016" r:id="rId17"/>
    <p:sldLayoutId id="2147485017" r:id="rId18"/>
    <p:sldLayoutId id="2147485018" r:id="rId19"/>
    <p:sldLayoutId id="2147485019" r:id="rId20"/>
    <p:sldLayoutId id="2147485020" r:id="rId21"/>
    <p:sldLayoutId id="2147485021" r:id="rId22"/>
    <p:sldLayoutId id="2147485022" r:id="rId23"/>
    <p:sldLayoutId id="2147485023" r:id="rId24"/>
    <p:sldLayoutId id="2147485024" r:id="rId25"/>
    <p:sldLayoutId id="2147485025" r:id="rId26"/>
    <p:sldLayoutId id="2147485026" r:id="rId27"/>
    <p:sldLayoutId id="2147485027" r:id="rId28"/>
    <p:sldLayoutId id="2147485028" r:id="rId29"/>
    <p:sldLayoutId id="2147485029" r:id="rId30"/>
    <p:sldLayoutId id="2147485030" r:id="rId31"/>
    <p:sldLayoutId id="2147485031" r:id="rId32"/>
    <p:sldLayoutId id="2147485032" r:id="rId33"/>
    <p:sldLayoutId id="2147485033" r:id="rId34"/>
    <p:sldLayoutId id="2147485034" r:id="rId35"/>
    <p:sldLayoutId id="2147485035" r:id="rId36"/>
    <p:sldLayoutId id="2147485036" r:id="rId37"/>
    <p:sldLayoutId id="2147485037" r:id="rId38"/>
    <p:sldLayoutId id="2147485038" r:id="rId39"/>
    <p:sldLayoutId id="2147485039" r:id="rId40"/>
    <p:sldLayoutId id="2147485041" r:id="rId41"/>
    <p:sldLayoutId id="2147485042" r:id="rId42"/>
    <p:sldLayoutId id="2147485043" r:id="rId4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58027848"/>
      </p:ext>
    </p:extLst>
  </p:cSld>
  <p:clrMap bg1="dk1" tx1="lt1" bg2="dk2" tx2="lt2" accent1="accent1" accent2="accent2" accent3="accent3" accent4="accent4" accent5="accent5" accent6="accent6" hlink="hlink" folHlink="folHlink"/>
  <p:sldLayoutIdLst>
    <p:sldLayoutId id="2147485046" r:id="rId1"/>
    <p:sldLayoutId id="2147485047" r:id="rId2"/>
    <p:sldLayoutId id="2147485048" r:id="rId3"/>
    <p:sldLayoutId id="2147485049" r:id="rId4"/>
    <p:sldLayoutId id="2147485050" r:id="rId5"/>
    <p:sldLayoutId id="2147485051" r:id="rId6"/>
    <p:sldLayoutId id="2147485052" r:id="rId7"/>
    <p:sldLayoutId id="2147485053" r:id="rId8"/>
    <p:sldLayoutId id="2147485054" r:id="rId9"/>
    <p:sldLayoutId id="2147485055" r:id="rId10"/>
    <p:sldLayoutId id="2147485056" r:id="rId11"/>
    <p:sldLayoutId id="2147485057" r:id="rId12"/>
    <p:sldLayoutId id="2147485058" r:id="rId13"/>
    <p:sldLayoutId id="2147485059" r:id="rId14"/>
    <p:sldLayoutId id="2147485060" r:id="rId15"/>
    <p:sldLayoutId id="2147485061" r:id="rId16"/>
    <p:sldLayoutId id="2147485062" r:id="rId17"/>
    <p:sldLayoutId id="2147485063" r:id="rId18"/>
    <p:sldLayoutId id="2147485064" r:id="rId19"/>
    <p:sldLayoutId id="2147485065" r:id="rId20"/>
    <p:sldLayoutId id="2147485066" r:id="rId21"/>
    <p:sldLayoutId id="2147485067" r:id="rId22"/>
    <p:sldLayoutId id="2147485068"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3526393"/>
      </p:ext>
    </p:extLst>
  </p:cSld>
  <p:clrMap bg1="lt1" tx1="dk1" bg2="lt2" tx2="dk2" accent1="accent1" accent2="accent2" accent3="accent3" accent4="accent4" accent5="accent5" accent6="accent6" hlink="hlink" folHlink="folHlink"/>
  <p:sldLayoutIdLst>
    <p:sldLayoutId id="2147485070" r:id="rId1"/>
    <p:sldLayoutId id="2147485071" r:id="rId2"/>
    <p:sldLayoutId id="2147485072" r:id="rId3"/>
    <p:sldLayoutId id="2147485073" r:id="rId4"/>
    <p:sldLayoutId id="2147485074" r:id="rId5"/>
    <p:sldLayoutId id="2147485075" r:id="rId6"/>
    <p:sldLayoutId id="2147485076" r:id="rId7"/>
    <p:sldLayoutId id="2147485077" r:id="rId8"/>
    <p:sldLayoutId id="2147485078" r:id="rId9"/>
    <p:sldLayoutId id="2147485079" r:id="rId10"/>
    <p:sldLayoutId id="2147485080" r:id="rId11"/>
    <p:sldLayoutId id="2147485081" r:id="rId12"/>
    <p:sldLayoutId id="2147485082"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76741"/>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8764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168241181"/>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759290"/>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Lst>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859371539"/>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 id="2147484317" r:id="rId19"/>
    <p:sldLayoutId id="2147484318" r:id="rId20"/>
    <p:sldLayoutId id="2147484319" r:id="rId21"/>
    <p:sldLayoutId id="2147484320" r:id="rId22"/>
    <p:sldLayoutId id="2147484321" r:id="rId23"/>
    <p:sldLayoutId id="2147484322" r:id="rId24"/>
    <p:sldLayoutId id="2147484323" r:id="rId25"/>
    <p:sldLayoutId id="2147484324" r:id="rId26"/>
    <p:sldLayoutId id="2147484325" r:id="rId27"/>
    <p:sldLayoutId id="2147484326" r:id="rId28"/>
    <p:sldLayoutId id="2147484327" r:id="rId29"/>
    <p:sldLayoutId id="2147484328" r:id="rId30"/>
    <p:sldLayoutId id="2147484329" r:id="rId31"/>
    <p:sldLayoutId id="2147484330" r:id="rId32"/>
    <p:sldLayoutId id="2147484331" r:id="rId33"/>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userDrawn="1"/>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pPr defTabSz="932597"/>
            <a:fld id="{0D099E2A-118A-4377-8F98-2DF40BCBA9FE}" type="slidenum">
              <a:rPr lang="en-US" sz="1836" smtClean="0"/>
              <a:pPr defTabSz="932597"/>
              <a:t>‹#›</a:t>
            </a:fld>
            <a:endParaRPr lang="en-US" sz="1836" dirty="0"/>
          </a:p>
        </p:txBody>
      </p:sp>
    </p:spTree>
    <p:extLst>
      <p:ext uri="{BB962C8B-B14F-4D97-AF65-F5344CB8AC3E}">
        <p14:creationId xmlns:p14="http://schemas.microsoft.com/office/powerpoint/2010/main" val="3249386578"/>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Lst>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144504"/>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4" r:id="rId6"/>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87216317"/>
      </p:ext>
    </p:extLst>
  </p:cSld>
  <p:clrMap bg1="dk1" tx1="lt1" bg2="dk2" tx2="lt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 id="2147484464" r:id="rId9"/>
    <p:sldLayoutId id="2147484465" r:id="rId10"/>
    <p:sldLayoutId id="2147484466" r:id="rId11"/>
    <p:sldLayoutId id="2147484467" r:id="rId12"/>
    <p:sldLayoutId id="2147484468" r:id="rId13"/>
    <p:sldLayoutId id="2147484469" r:id="rId14"/>
    <p:sldLayoutId id="2147484470" r:id="rId15"/>
    <p:sldLayoutId id="2147484471" r:id="rId16"/>
    <p:sldLayoutId id="2147484472" r:id="rId17"/>
    <p:sldLayoutId id="2147484473" r:id="rId18"/>
    <p:sldLayoutId id="2147484474" r:id="rId19"/>
    <p:sldLayoutId id="2147484475" r:id="rId20"/>
    <p:sldLayoutId id="2147484476" r:id="rId21"/>
    <p:sldLayoutId id="2147484477" r:id="rId22"/>
    <p:sldLayoutId id="2147484478" r:id="rId23"/>
    <p:sldLayoutId id="2147484479" r:id="rId24"/>
    <p:sldLayoutId id="2147484480" r:id="rId25"/>
    <p:sldLayoutId id="2147484481" r:id="rId26"/>
    <p:sldLayoutId id="2147484482" r:id="rId27"/>
    <p:sldLayoutId id="2147484483" r:id="rId28"/>
    <p:sldLayoutId id="2147484484" r:id="rId29"/>
    <p:sldLayoutId id="2147484485" r:id="rId30"/>
    <p:sldLayoutId id="2147484486" r:id="rId31"/>
    <p:sldLayoutId id="2147484487" r:id="rId32"/>
    <p:sldLayoutId id="2147484488" r:id="rId33"/>
    <p:sldLayoutId id="2147484489" r:id="rId34"/>
    <p:sldLayoutId id="2147484490" r:id="rId35"/>
    <p:sldLayoutId id="2147484491" r:id="rId3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57564794"/>
      </p:ext>
    </p:extLst>
  </p:cSld>
  <p:clrMap bg1="dk1" tx1="lt1" bg2="dk2" tx2="lt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 id="2147484503" r:id="rId11"/>
    <p:sldLayoutId id="2147484504" r:id="rId12"/>
    <p:sldLayoutId id="2147484505" r:id="rId13"/>
    <p:sldLayoutId id="2147484506" r:id="rId14"/>
    <p:sldLayoutId id="2147484507" r:id="rId15"/>
    <p:sldLayoutId id="2147484508" r:id="rId16"/>
    <p:sldLayoutId id="2147484509" r:id="rId17"/>
    <p:sldLayoutId id="2147484510" r:id="rId18"/>
    <p:sldLayoutId id="2147484511" r:id="rId19"/>
    <p:sldLayoutId id="2147484513" r:id="rId20"/>
    <p:sldLayoutId id="2147484514" r:id="rId21"/>
    <p:sldLayoutId id="2147484515"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xml"/><Relationship Id="rId1" Type="http://schemas.openxmlformats.org/officeDocument/2006/relationships/slideLayout" Target="../slideLayouts/slideLayout680.xml"/><Relationship Id="rId4" Type="http://schemas.openxmlformats.org/officeDocument/2006/relationships/image" Target="../media/image136.png"/></Relationships>
</file>

<file path=ppt/slides/_rels/slide1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xml"/><Relationship Id="rId1" Type="http://schemas.openxmlformats.org/officeDocument/2006/relationships/slideLayout" Target="../slideLayouts/slideLayout722.xml"/><Relationship Id="rId5" Type="http://schemas.openxmlformats.org/officeDocument/2006/relationships/hyperlink" Target="https://azure.microsoft.com/en-us/regions/services/" TargetMode="External"/><Relationship Id="rId4" Type="http://schemas.microsoft.com/office/2007/relationships/hdphoto" Target="../media/hdphoto5.wdp"/></Relationships>
</file>

<file path=ppt/slides/_rels/slide11.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18" Type="http://schemas.openxmlformats.org/officeDocument/2006/relationships/image" Target="../media/image161.jpeg"/><Relationship Id="rId26" Type="http://schemas.openxmlformats.org/officeDocument/2006/relationships/image" Target="../media/image169.png"/><Relationship Id="rId39" Type="http://schemas.openxmlformats.org/officeDocument/2006/relationships/image" Target="../media/image182.png"/><Relationship Id="rId3" Type="http://schemas.openxmlformats.org/officeDocument/2006/relationships/image" Target="../media/image148.png"/><Relationship Id="rId21" Type="http://schemas.openxmlformats.org/officeDocument/2006/relationships/image" Target="../media/image164.png"/><Relationship Id="rId34" Type="http://schemas.openxmlformats.org/officeDocument/2006/relationships/image" Target="../media/image177.png"/><Relationship Id="rId42" Type="http://schemas.openxmlformats.org/officeDocument/2006/relationships/image" Target="../media/image185.jpeg"/><Relationship Id="rId47" Type="http://schemas.openxmlformats.org/officeDocument/2006/relationships/image" Target="../media/image190.png"/><Relationship Id="rId7" Type="http://schemas.openxmlformats.org/officeDocument/2006/relationships/image" Target="../media/image152.jpeg"/><Relationship Id="rId12" Type="http://schemas.openxmlformats.org/officeDocument/2006/relationships/image" Target="../media/image157.png"/><Relationship Id="rId17" Type="http://schemas.openxmlformats.org/officeDocument/2006/relationships/hyperlink" Target="https://www.fisc.or.jp/" TargetMode="External"/><Relationship Id="rId25" Type="http://schemas.openxmlformats.org/officeDocument/2006/relationships/image" Target="../media/image168.png"/><Relationship Id="rId33" Type="http://schemas.openxmlformats.org/officeDocument/2006/relationships/image" Target="../media/image176.jpeg"/><Relationship Id="rId38" Type="http://schemas.openxmlformats.org/officeDocument/2006/relationships/image" Target="../media/image181.jpeg"/><Relationship Id="rId46" Type="http://schemas.openxmlformats.org/officeDocument/2006/relationships/image" Target="../media/image189.png"/><Relationship Id="rId2" Type="http://schemas.openxmlformats.org/officeDocument/2006/relationships/notesSlide" Target="../notesSlides/notesSlide11.xml"/><Relationship Id="rId16" Type="http://schemas.openxmlformats.org/officeDocument/2006/relationships/image" Target="../media/image160.png"/><Relationship Id="rId20" Type="http://schemas.openxmlformats.org/officeDocument/2006/relationships/image" Target="../media/image163.jpeg"/><Relationship Id="rId29" Type="http://schemas.openxmlformats.org/officeDocument/2006/relationships/image" Target="../media/image172.jpeg"/><Relationship Id="rId41" Type="http://schemas.openxmlformats.org/officeDocument/2006/relationships/image" Target="../media/image184.png"/><Relationship Id="rId1" Type="http://schemas.openxmlformats.org/officeDocument/2006/relationships/slideLayout" Target="../slideLayouts/slideLayout697.xml"/><Relationship Id="rId6" Type="http://schemas.openxmlformats.org/officeDocument/2006/relationships/image" Target="../media/image151.jpeg"/><Relationship Id="rId11" Type="http://schemas.openxmlformats.org/officeDocument/2006/relationships/image" Target="../media/image156.png"/><Relationship Id="rId24" Type="http://schemas.openxmlformats.org/officeDocument/2006/relationships/image" Target="../media/image167.png"/><Relationship Id="rId32" Type="http://schemas.openxmlformats.org/officeDocument/2006/relationships/image" Target="../media/image175.png"/><Relationship Id="rId37" Type="http://schemas.openxmlformats.org/officeDocument/2006/relationships/image" Target="../media/image180.png"/><Relationship Id="rId40" Type="http://schemas.openxmlformats.org/officeDocument/2006/relationships/image" Target="../media/image183.jpeg"/><Relationship Id="rId45" Type="http://schemas.openxmlformats.org/officeDocument/2006/relationships/image" Target="../media/image188.jpeg"/><Relationship Id="rId5" Type="http://schemas.openxmlformats.org/officeDocument/2006/relationships/image" Target="../media/image150.jpeg"/><Relationship Id="rId15" Type="http://schemas.openxmlformats.org/officeDocument/2006/relationships/hyperlink" Target="http://www.asd.gov.au/infosec/irap/index.htm" TargetMode="External"/><Relationship Id="rId23" Type="http://schemas.openxmlformats.org/officeDocument/2006/relationships/image" Target="../media/image166.png"/><Relationship Id="rId28" Type="http://schemas.openxmlformats.org/officeDocument/2006/relationships/image" Target="../media/image171.png"/><Relationship Id="rId36" Type="http://schemas.openxmlformats.org/officeDocument/2006/relationships/image" Target="../media/image179.png"/><Relationship Id="rId10" Type="http://schemas.openxmlformats.org/officeDocument/2006/relationships/image" Target="../media/image155.png"/><Relationship Id="rId19" Type="http://schemas.openxmlformats.org/officeDocument/2006/relationships/image" Target="../media/image162.jpeg"/><Relationship Id="rId31" Type="http://schemas.openxmlformats.org/officeDocument/2006/relationships/image" Target="../media/image174.png"/><Relationship Id="rId44" Type="http://schemas.openxmlformats.org/officeDocument/2006/relationships/image" Target="../media/image187.png"/><Relationship Id="rId4" Type="http://schemas.openxmlformats.org/officeDocument/2006/relationships/image" Target="../media/image149.jpeg"/><Relationship Id="rId9" Type="http://schemas.openxmlformats.org/officeDocument/2006/relationships/image" Target="../media/image154.png"/><Relationship Id="rId14" Type="http://schemas.openxmlformats.org/officeDocument/2006/relationships/image" Target="../media/image159.png"/><Relationship Id="rId22" Type="http://schemas.openxmlformats.org/officeDocument/2006/relationships/image" Target="../media/image165.png"/><Relationship Id="rId27" Type="http://schemas.openxmlformats.org/officeDocument/2006/relationships/image" Target="../media/image170.jpeg"/><Relationship Id="rId30" Type="http://schemas.openxmlformats.org/officeDocument/2006/relationships/image" Target="../media/image173.gif"/><Relationship Id="rId35" Type="http://schemas.openxmlformats.org/officeDocument/2006/relationships/image" Target="../media/image178.png"/><Relationship Id="rId43" Type="http://schemas.openxmlformats.org/officeDocument/2006/relationships/image" Target="../media/image186.png"/><Relationship Id="rId48" Type="http://schemas.openxmlformats.org/officeDocument/2006/relationships/image" Target="../media/image19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2.xml"/></Relationships>
</file>

<file path=ppt/slides/_rels/slide13.xml.rels><?xml version="1.0" encoding="UTF-8" standalone="yes"?>
<Relationships xmlns="http://schemas.openxmlformats.org/package/2006/relationships"><Relationship Id="rId3" Type="http://schemas.openxmlformats.org/officeDocument/2006/relationships/image" Target="../media/image192.emf"/><Relationship Id="rId7" Type="http://schemas.microsoft.com/office/2007/relationships/hdphoto" Target="../media/hdphoto6.wdp"/><Relationship Id="rId2" Type="http://schemas.openxmlformats.org/officeDocument/2006/relationships/notesSlide" Target="../notesSlides/notesSlide13.xml"/><Relationship Id="rId1" Type="http://schemas.openxmlformats.org/officeDocument/2006/relationships/slideLayout" Target="../slideLayouts/slideLayout702.xml"/><Relationship Id="rId6" Type="http://schemas.openxmlformats.org/officeDocument/2006/relationships/image" Target="../media/image195.png"/><Relationship Id="rId5" Type="http://schemas.openxmlformats.org/officeDocument/2006/relationships/image" Target="../media/image194.emf"/><Relationship Id="rId4" Type="http://schemas.openxmlformats.org/officeDocument/2006/relationships/image" Target="../media/image193.emf"/></Relationships>
</file>

<file path=ppt/slides/_rels/slide14.xml.rels><?xml version="1.0" encoding="UTF-8" standalone="yes"?>
<Relationships xmlns="http://schemas.openxmlformats.org/package/2006/relationships"><Relationship Id="rId8" Type="http://schemas.openxmlformats.org/officeDocument/2006/relationships/image" Target="../media/image199.png"/><Relationship Id="rId13" Type="http://schemas.openxmlformats.org/officeDocument/2006/relationships/image" Target="../media/image204.png"/><Relationship Id="rId18" Type="http://schemas.openxmlformats.org/officeDocument/2006/relationships/image" Target="../media/image209.png"/><Relationship Id="rId26" Type="http://schemas.openxmlformats.org/officeDocument/2006/relationships/image" Target="../media/image217.png"/><Relationship Id="rId3" Type="http://schemas.openxmlformats.org/officeDocument/2006/relationships/image" Target="../media/image195.png"/><Relationship Id="rId21" Type="http://schemas.openxmlformats.org/officeDocument/2006/relationships/image" Target="../media/image212.png"/><Relationship Id="rId34" Type="http://schemas.openxmlformats.org/officeDocument/2006/relationships/image" Target="../media/image225.png"/><Relationship Id="rId7" Type="http://schemas.openxmlformats.org/officeDocument/2006/relationships/image" Target="../media/image198.png"/><Relationship Id="rId12" Type="http://schemas.openxmlformats.org/officeDocument/2006/relationships/image" Target="../media/image203.png"/><Relationship Id="rId17" Type="http://schemas.openxmlformats.org/officeDocument/2006/relationships/image" Target="../media/image208.png"/><Relationship Id="rId25" Type="http://schemas.openxmlformats.org/officeDocument/2006/relationships/image" Target="../media/image216.png"/><Relationship Id="rId33" Type="http://schemas.openxmlformats.org/officeDocument/2006/relationships/image" Target="../media/image224.png"/><Relationship Id="rId2" Type="http://schemas.openxmlformats.org/officeDocument/2006/relationships/notesSlide" Target="../notesSlides/notesSlide14.xml"/><Relationship Id="rId16" Type="http://schemas.openxmlformats.org/officeDocument/2006/relationships/image" Target="../media/image207.png"/><Relationship Id="rId20" Type="http://schemas.openxmlformats.org/officeDocument/2006/relationships/image" Target="../media/image211.png"/><Relationship Id="rId29" Type="http://schemas.openxmlformats.org/officeDocument/2006/relationships/image" Target="../media/image220.png"/><Relationship Id="rId1" Type="http://schemas.openxmlformats.org/officeDocument/2006/relationships/slideLayout" Target="../slideLayouts/slideLayout693.xml"/><Relationship Id="rId6" Type="http://schemas.openxmlformats.org/officeDocument/2006/relationships/image" Target="../media/image197.png"/><Relationship Id="rId11" Type="http://schemas.openxmlformats.org/officeDocument/2006/relationships/image" Target="../media/image202.png"/><Relationship Id="rId24" Type="http://schemas.openxmlformats.org/officeDocument/2006/relationships/image" Target="../media/image215.png"/><Relationship Id="rId32" Type="http://schemas.openxmlformats.org/officeDocument/2006/relationships/image" Target="../media/image223.png"/><Relationship Id="rId5" Type="http://schemas.openxmlformats.org/officeDocument/2006/relationships/image" Target="../media/image196.png"/><Relationship Id="rId15" Type="http://schemas.openxmlformats.org/officeDocument/2006/relationships/image" Target="../media/image206.png"/><Relationship Id="rId23" Type="http://schemas.openxmlformats.org/officeDocument/2006/relationships/image" Target="../media/image214.png"/><Relationship Id="rId28" Type="http://schemas.openxmlformats.org/officeDocument/2006/relationships/image" Target="../media/image219.png"/><Relationship Id="rId10" Type="http://schemas.openxmlformats.org/officeDocument/2006/relationships/image" Target="../media/image201.png"/><Relationship Id="rId19" Type="http://schemas.openxmlformats.org/officeDocument/2006/relationships/image" Target="../media/image210.png"/><Relationship Id="rId31" Type="http://schemas.openxmlformats.org/officeDocument/2006/relationships/image" Target="../media/image222.png"/><Relationship Id="rId4" Type="http://schemas.microsoft.com/office/2007/relationships/hdphoto" Target="../media/hdphoto6.wdp"/><Relationship Id="rId9" Type="http://schemas.openxmlformats.org/officeDocument/2006/relationships/image" Target="../media/image200.png"/><Relationship Id="rId14" Type="http://schemas.openxmlformats.org/officeDocument/2006/relationships/image" Target="../media/image205.png"/><Relationship Id="rId22" Type="http://schemas.openxmlformats.org/officeDocument/2006/relationships/image" Target="../media/image213.png"/><Relationship Id="rId27" Type="http://schemas.openxmlformats.org/officeDocument/2006/relationships/image" Target="../media/image218.png"/><Relationship Id="rId30" Type="http://schemas.openxmlformats.org/officeDocument/2006/relationships/image" Target="../media/image221.png"/></Relationships>
</file>

<file path=ppt/slides/_rels/slide1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5.xml"/><Relationship Id="rId1" Type="http://schemas.openxmlformats.org/officeDocument/2006/relationships/slideLayout" Target="../slideLayouts/slideLayout693.xml"/><Relationship Id="rId5" Type="http://schemas.microsoft.com/office/2007/relationships/hdphoto" Target="../media/hdphoto6.wdp"/><Relationship Id="rId4" Type="http://schemas.openxmlformats.org/officeDocument/2006/relationships/image" Target="../media/image19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3" Type="http://schemas.openxmlformats.org/officeDocument/2006/relationships/image" Target="../media/image227.emf"/><Relationship Id="rId2" Type="http://schemas.openxmlformats.org/officeDocument/2006/relationships/notesSlide" Target="../notesSlides/notesSlide17.xml"/><Relationship Id="rId1" Type="http://schemas.openxmlformats.org/officeDocument/2006/relationships/slideLayout" Target="../slideLayouts/slideLayout702.xml"/><Relationship Id="rId5" Type="http://schemas.openxmlformats.org/officeDocument/2006/relationships/image" Target="../media/image229.emf"/><Relationship Id="rId4" Type="http://schemas.openxmlformats.org/officeDocument/2006/relationships/image" Target="../media/image228.emf"/></Relationships>
</file>

<file path=ppt/slides/_rels/slide18.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230.png"/><Relationship Id="rId7" Type="http://schemas.openxmlformats.org/officeDocument/2006/relationships/image" Target="../media/image232.png"/><Relationship Id="rId2" Type="http://schemas.openxmlformats.org/officeDocument/2006/relationships/notesSlide" Target="../notesSlides/notesSlide18.xml"/><Relationship Id="rId1" Type="http://schemas.openxmlformats.org/officeDocument/2006/relationships/slideLayout" Target="../slideLayouts/slideLayout723.xml"/><Relationship Id="rId6" Type="http://schemas.microsoft.com/office/2007/relationships/hdphoto" Target="../media/hdphoto8.wdp"/><Relationship Id="rId5" Type="http://schemas.openxmlformats.org/officeDocument/2006/relationships/image" Target="../media/image231.png"/><Relationship Id="rId4" Type="http://schemas.microsoft.com/office/2007/relationships/hdphoto" Target="../media/hdphoto7.wdp"/></Relationships>
</file>

<file path=ppt/slides/_rels/slide19.xml.rels><?xml version="1.0" encoding="UTF-8" standalone="yes"?>
<Relationships xmlns="http://schemas.openxmlformats.org/package/2006/relationships"><Relationship Id="rId3" Type="http://schemas.openxmlformats.org/officeDocument/2006/relationships/image" Target="../media/image233.emf"/><Relationship Id="rId2" Type="http://schemas.openxmlformats.org/officeDocument/2006/relationships/notesSlide" Target="../notesSlides/notesSlide19.xml"/><Relationship Id="rId1" Type="http://schemas.openxmlformats.org/officeDocument/2006/relationships/slideLayout" Target="../slideLayouts/slideLayout723.xml"/><Relationship Id="rId5" Type="http://schemas.microsoft.com/office/2007/relationships/hdphoto" Target="../media/hdphoto10.wdp"/><Relationship Id="rId4" Type="http://schemas.openxmlformats.org/officeDocument/2006/relationships/image" Target="../media/image2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27.xml"/></Relationships>
</file>

<file path=ppt/slides/_rels/slide20.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notesSlide" Target="../notesSlides/notesSlide20.xml"/><Relationship Id="rId1" Type="http://schemas.openxmlformats.org/officeDocument/2006/relationships/slideLayout" Target="../slideLayouts/slideLayout693.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21.xml.rels><?xml version="1.0" encoding="UTF-8" standalone="yes"?>
<Relationships xmlns="http://schemas.openxmlformats.org/package/2006/relationships"><Relationship Id="rId8" Type="http://schemas.openxmlformats.org/officeDocument/2006/relationships/image" Target="../media/image245.emf"/><Relationship Id="rId3" Type="http://schemas.openxmlformats.org/officeDocument/2006/relationships/image" Target="../media/image240.emf"/><Relationship Id="rId7" Type="http://schemas.openxmlformats.org/officeDocument/2006/relationships/image" Target="../media/image244.emf"/><Relationship Id="rId2" Type="http://schemas.openxmlformats.org/officeDocument/2006/relationships/notesSlide" Target="../notesSlides/notesSlide21.xml"/><Relationship Id="rId1" Type="http://schemas.openxmlformats.org/officeDocument/2006/relationships/slideLayout" Target="../slideLayouts/slideLayout693.xml"/><Relationship Id="rId6" Type="http://schemas.openxmlformats.org/officeDocument/2006/relationships/image" Target="../media/image243.emf"/><Relationship Id="rId5" Type="http://schemas.openxmlformats.org/officeDocument/2006/relationships/image" Target="../media/image242.emf"/><Relationship Id="rId4" Type="http://schemas.openxmlformats.org/officeDocument/2006/relationships/image" Target="../media/image241.emf"/><Relationship Id="rId9" Type="http://schemas.openxmlformats.org/officeDocument/2006/relationships/image" Target="../media/image24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02.xml"/></Relationships>
</file>

<file path=ppt/slides/_rels/slide23.xml.rels><?xml version="1.0" encoding="UTF-8" standalone="yes"?>
<Relationships xmlns="http://schemas.openxmlformats.org/package/2006/relationships"><Relationship Id="rId3" Type="http://schemas.openxmlformats.org/officeDocument/2006/relationships/image" Target="../media/image247.emf"/><Relationship Id="rId2" Type="http://schemas.openxmlformats.org/officeDocument/2006/relationships/notesSlide" Target="../notesSlides/notesSlide23.xml"/><Relationship Id="rId1" Type="http://schemas.openxmlformats.org/officeDocument/2006/relationships/slideLayout" Target="../slideLayouts/slideLayout702.xml"/><Relationship Id="rId5" Type="http://schemas.openxmlformats.org/officeDocument/2006/relationships/image" Target="../media/image249.emf"/><Relationship Id="rId4" Type="http://schemas.openxmlformats.org/officeDocument/2006/relationships/image" Target="../media/image248.emf"/></Relationships>
</file>

<file path=ppt/slides/_rels/slide24.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24.xml"/><Relationship Id="rId1" Type="http://schemas.openxmlformats.org/officeDocument/2006/relationships/slideLayout" Target="../slideLayouts/slideLayout693.xml"/></Relationships>
</file>

<file path=ppt/slides/_rels/slide25.xml.rels><?xml version="1.0" encoding="UTF-8" standalone="yes"?>
<Relationships xmlns="http://schemas.openxmlformats.org/package/2006/relationships"><Relationship Id="rId3" Type="http://schemas.openxmlformats.org/officeDocument/2006/relationships/image" Target="../media/image251.emf"/><Relationship Id="rId2" Type="http://schemas.openxmlformats.org/officeDocument/2006/relationships/notesSlide" Target="../notesSlides/notesSlide25.xml"/><Relationship Id="rId1" Type="http://schemas.openxmlformats.org/officeDocument/2006/relationships/slideLayout" Target="../slideLayouts/slideLayout693.xml"/></Relationships>
</file>

<file path=ppt/slides/_rels/slide26.xml.rels><?xml version="1.0" encoding="UTF-8" standalone="yes"?>
<Relationships xmlns="http://schemas.openxmlformats.org/package/2006/relationships"><Relationship Id="rId3" Type="http://schemas.openxmlformats.org/officeDocument/2006/relationships/image" Target="../media/image252.jpeg"/><Relationship Id="rId2" Type="http://schemas.openxmlformats.org/officeDocument/2006/relationships/notesSlide" Target="../notesSlides/notesSlide26.xml"/><Relationship Id="rId1" Type="http://schemas.openxmlformats.org/officeDocument/2006/relationships/slideLayout" Target="../slideLayouts/slideLayout693.xml"/><Relationship Id="rId4" Type="http://schemas.openxmlformats.org/officeDocument/2006/relationships/image" Target="../media/image253.jpeg"/></Relationships>
</file>

<file path=ppt/slides/_rels/slide27.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image" Target="../media/image254.png"/><Relationship Id="rId7" Type="http://schemas.openxmlformats.org/officeDocument/2006/relationships/image" Target="../media/image258.jpeg"/><Relationship Id="rId2" Type="http://schemas.openxmlformats.org/officeDocument/2006/relationships/notesSlide" Target="../notesSlides/notesSlide27.xml"/><Relationship Id="rId1" Type="http://schemas.openxmlformats.org/officeDocument/2006/relationships/slideLayout" Target="../slideLayouts/slideLayout692.xml"/><Relationship Id="rId6" Type="http://schemas.openxmlformats.org/officeDocument/2006/relationships/image" Target="../media/image257.png"/><Relationship Id="rId5" Type="http://schemas.openxmlformats.org/officeDocument/2006/relationships/image" Target="../media/image256.jpeg"/><Relationship Id="rId10" Type="http://schemas.openxmlformats.org/officeDocument/2006/relationships/image" Target="../media/image260.png"/><Relationship Id="rId4" Type="http://schemas.openxmlformats.org/officeDocument/2006/relationships/image" Target="../media/image255.png"/><Relationship Id="rId9" Type="http://schemas.microsoft.com/office/2007/relationships/hdphoto" Target="../media/hdphoto11.wdp"/></Relationships>
</file>

<file path=ppt/slides/_rels/slide28.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28.xml"/><Relationship Id="rId1" Type="http://schemas.openxmlformats.org/officeDocument/2006/relationships/slideLayout" Target="../slideLayouts/slideLayout69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140.jpeg"/><Relationship Id="rId2" Type="http://schemas.openxmlformats.org/officeDocument/2006/relationships/notesSlide" Target="../notesSlides/notesSlide3.xml"/><Relationship Id="rId1" Type="http://schemas.openxmlformats.org/officeDocument/2006/relationships/slideLayout" Target="../slideLayouts/slideLayout545.xml"/><Relationship Id="rId6" Type="http://schemas.openxmlformats.org/officeDocument/2006/relationships/image" Target="../media/image139.jpeg"/><Relationship Id="rId5" Type="http://schemas.openxmlformats.org/officeDocument/2006/relationships/image" Target="../media/image138.jpeg"/><Relationship Id="rId4" Type="http://schemas.openxmlformats.org/officeDocument/2006/relationships/hyperlink" Target="mailto:joe.raio@microsoft.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aka.ms/tryazure" TargetMode="External"/><Relationship Id="rId2" Type="http://schemas.openxmlformats.org/officeDocument/2006/relationships/notesSlide" Target="../notesSlides/notesSlide29.xml"/><Relationship Id="rId1" Type="http://schemas.openxmlformats.org/officeDocument/2006/relationships/slideLayout" Target="../slideLayouts/slideLayout5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75.xml"/></Relationships>
</file>

<file path=ppt/slides/_rels/slide32.xml.rels><?xml version="1.0" encoding="UTF-8" standalone="yes"?>
<Relationships xmlns="http://schemas.openxmlformats.org/package/2006/relationships"><Relationship Id="rId3" Type="http://schemas.openxmlformats.org/officeDocument/2006/relationships/hyperlink" Target="mailto:Joe.Raio@Microsoft.com" TargetMode="External"/><Relationship Id="rId2" Type="http://schemas.openxmlformats.org/officeDocument/2006/relationships/notesSlide" Target="../notesSlides/notesSlide30.xml"/><Relationship Id="rId1" Type="http://schemas.openxmlformats.org/officeDocument/2006/relationships/slideLayout" Target="../slideLayouts/slideLayout527.xml"/><Relationship Id="rId4" Type="http://schemas.openxmlformats.org/officeDocument/2006/relationships/hyperlink" Target="http://joe.raio.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xml"/><Relationship Id="rId1" Type="http://schemas.openxmlformats.org/officeDocument/2006/relationships/slideLayout" Target="../slideLayouts/slideLayout5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2.xml"/></Relationships>
</file>

<file path=ppt/slides/_rels/slide8.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8.xml"/><Relationship Id="rId1" Type="http://schemas.openxmlformats.org/officeDocument/2006/relationships/slideLayout" Target="../slideLayouts/slideLayout693.xml"/><Relationship Id="rId5" Type="http://schemas.openxmlformats.org/officeDocument/2006/relationships/image" Target="../media/image145.png"/><Relationship Id="rId4" Type="http://schemas.openxmlformats.org/officeDocument/2006/relationships/image" Target="../media/image144.emf"/></Relationships>
</file>

<file path=ppt/slides/_rels/slide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xml"/><Relationship Id="rId1" Type="http://schemas.openxmlformats.org/officeDocument/2006/relationships/slideLayout" Target="../slideLayouts/slideLayout6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2" y="-26471"/>
            <a:ext cx="12434711" cy="7020997"/>
          </a:xfrm>
          <a:prstGeom prst="rect">
            <a:avLst/>
          </a:prstGeom>
        </p:spPr>
      </p:pic>
      <p:sp>
        <p:nvSpPr>
          <p:cNvPr id="3" name="Rectangle 2"/>
          <p:cNvSpPr/>
          <p:nvPr/>
        </p:nvSpPr>
        <p:spPr bwMode="auto">
          <a:xfrm>
            <a:off x="882" y="-1"/>
            <a:ext cx="12434712" cy="7020996"/>
          </a:xfrm>
          <a:prstGeom prst="rect">
            <a:avLst/>
          </a:prstGeom>
          <a:solidFill>
            <a:srgbClr val="000000">
              <a:alpha val="7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Title 1"/>
          <p:cNvSpPr txBox="1">
            <a:spLocks/>
          </p:cNvSpPr>
          <p:nvPr/>
        </p:nvSpPr>
        <p:spPr bwMode="ltGray">
          <a:xfrm>
            <a:off x="879" y="794319"/>
            <a:ext cx="12434713" cy="1181826"/>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algn="ctr" defTabSz="932563">
              <a:defRPr/>
            </a:pPr>
            <a:r>
              <a:rPr lang="en-US" sz="6731" spc="-102">
                <a:latin typeface="Segoe UI Light"/>
              </a:rPr>
              <a:t>Microsoft Azure</a:t>
            </a:r>
          </a:p>
        </p:txBody>
      </p:sp>
      <p:sp>
        <p:nvSpPr>
          <p:cNvPr id="13" name="Title 1"/>
          <p:cNvSpPr txBox="1">
            <a:spLocks/>
          </p:cNvSpPr>
          <p:nvPr/>
        </p:nvSpPr>
        <p:spPr bwMode="ltGray">
          <a:xfrm>
            <a:off x="1762463" y="1996579"/>
            <a:ext cx="8911545" cy="1733930"/>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algn="ctr" defTabSz="932384">
              <a:lnSpc>
                <a:spcPct val="100000"/>
              </a:lnSpc>
              <a:defRPr/>
            </a:pPr>
            <a:r>
              <a:rPr lang="en-US" sz="2856" b="1" spc="20">
                <a:latin typeface="Segoe UI"/>
              </a:rPr>
              <a:t>The cloud platform for digital transformation</a:t>
            </a:r>
          </a:p>
        </p:txBody>
      </p:sp>
      <p:sp>
        <p:nvSpPr>
          <p:cNvPr id="58" name="Title 2"/>
          <p:cNvSpPr txBox="1">
            <a:spLocks/>
          </p:cNvSpPr>
          <p:nvPr/>
        </p:nvSpPr>
        <p:spPr>
          <a:xfrm>
            <a:off x="270301" y="6155182"/>
            <a:ext cx="5795536" cy="839342"/>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lnSpc>
                <a:spcPts val="2897"/>
              </a:lnSpc>
              <a:defRPr/>
            </a:pPr>
            <a:r>
              <a:rPr lang="en-US" sz="2244" spc="-30" dirty="0">
                <a:solidFill>
                  <a:srgbClr val="FFFFFF"/>
                </a:solidFill>
                <a:latin typeface="Segoe UI Light"/>
              </a:rPr>
              <a:t>Joe Raio, Senior Technical Evangelist, Microsoft</a:t>
            </a:r>
          </a:p>
        </p:txBody>
      </p:sp>
      <p:pic>
        <p:nvPicPr>
          <p:cNvPr id="18" name="Pictur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10972380" y="6320023"/>
            <a:ext cx="1005697" cy="195077"/>
          </a:xfrm>
          <a:prstGeom prst="rect">
            <a:avLst/>
          </a:prstGeom>
        </p:spPr>
      </p:pic>
      <p:sp>
        <p:nvSpPr>
          <p:cNvPr id="12" name="Freeform 5"/>
          <p:cNvSpPr>
            <a:spLocks/>
          </p:cNvSpPr>
          <p:nvPr/>
        </p:nvSpPr>
        <p:spPr bwMode="auto">
          <a:xfrm>
            <a:off x="4593689" y="4063205"/>
            <a:ext cx="487665" cy="50327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4" name="Freeform 6"/>
          <p:cNvSpPr>
            <a:spLocks noEditPoints="1"/>
          </p:cNvSpPr>
          <p:nvPr/>
        </p:nvSpPr>
        <p:spPr bwMode="auto">
          <a:xfrm>
            <a:off x="9857788" y="4062773"/>
            <a:ext cx="302616" cy="504134"/>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5" name="Freeform 7"/>
          <p:cNvSpPr>
            <a:spLocks noEditPoints="1"/>
          </p:cNvSpPr>
          <p:nvPr/>
        </p:nvSpPr>
        <p:spPr bwMode="auto">
          <a:xfrm>
            <a:off x="2277921" y="4099996"/>
            <a:ext cx="390117" cy="4296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 name="Freeform 8"/>
          <p:cNvSpPr>
            <a:spLocks noEditPoints="1"/>
          </p:cNvSpPr>
          <p:nvPr/>
        </p:nvSpPr>
        <p:spPr bwMode="auto">
          <a:xfrm>
            <a:off x="7436432" y="4138859"/>
            <a:ext cx="514603" cy="351962"/>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751088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009ECE"/>
        </a:solidFill>
        <a:effectLst/>
      </p:bgPr>
    </p:bg>
    <p:spTree>
      <p:nvGrpSpPr>
        <p:cNvPr id="1" name=""/>
        <p:cNvGrpSpPr/>
        <p:nvPr/>
      </p:nvGrpSpPr>
      <p:grpSpPr>
        <a:xfrm>
          <a:off x="0" y="0"/>
          <a:ext cx="0" cy="0"/>
          <a:chOff x="0" y="0"/>
          <a:chExt cx="0" cy="0"/>
        </a:xfrm>
      </p:grpSpPr>
      <p:pic>
        <p:nvPicPr>
          <p:cNvPr id="37" name="Picture 36"/>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l="-2056" t="-3665" r="-2056" b="-1"/>
          <a:stretch/>
        </p:blipFill>
        <p:spPr>
          <a:xfrm>
            <a:off x="1148701" y="430433"/>
            <a:ext cx="10994677" cy="6414123"/>
          </a:xfrm>
          <a:prstGeom prst="rect">
            <a:avLst/>
          </a:prstGeom>
          <a:noFill/>
          <a:ln>
            <a:noFill/>
          </a:ln>
        </p:spPr>
      </p:pic>
      <p:grpSp>
        <p:nvGrpSpPr>
          <p:cNvPr id="2" name="Group 1"/>
          <p:cNvGrpSpPr/>
          <p:nvPr/>
        </p:nvGrpSpPr>
        <p:grpSpPr>
          <a:xfrm>
            <a:off x="88164" y="2193251"/>
            <a:ext cx="3729017" cy="3005030"/>
            <a:chOff x="85578" y="2491391"/>
            <a:chExt cx="3656231" cy="2946375"/>
          </a:xfrm>
        </p:grpSpPr>
        <p:grpSp>
          <p:nvGrpSpPr>
            <p:cNvPr id="38" name="Group 37"/>
            <p:cNvGrpSpPr/>
            <p:nvPr/>
          </p:nvGrpSpPr>
          <p:grpSpPr>
            <a:xfrm>
              <a:off x="85578" y="2491391"/>
              <a:ext cx="3656231" cy="2615150"/>
              <a:chOff x="-2087057" y="2798704"/>
              <a:chExt cx="4560581" cy="2721080"/>
            </a:xfrm>
          </p:grpSpPr>
          <p:sp>
            <p:nvSpPr>
              <p:cNvPr id="39" name="TextBox 38"/>
              <p:cNvSpPr txBox="1"/>
              <p:nvPr/>
            </p:nvSpPr>
            <p:spPr>
              <a:xfrm>
                <a:off x="-2087057" y="2798704"/>
                <a:ext cx="2889869" cy="2615552"/>
              </a:xfrm>
              <a:prstGeom prst="rect">
                <a:avLst/>
              </a:prstGeom>
              <a:noFill/>
            </p:spPr>
            <p:txBody>
              <a:bodyPr wrap="none" lIns="277852" tIns="277852" rIns="277852" bIns="27785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91">
                  <a:spcAft>
                    <a:spcPts val="587"/>
                  </a:spcAft>
                  <a:defRPr/>
                </a:pPr>
                <a:r>
                  <a:rPr lang="en-US" sz="14177" spc="-412">
                    <a:solidFill>
                      <a:srgbClr val="FFFFFF"/>
                    </a:solidFill>
                    <a:latin typeface="Segoe UI Light"/>
                    <a:cs typeface="Segoe UI Semibold" panose="020B0702040204020203" pitchFamily="34" charset="0"/>
                  </a:rPr>
                  <a:t>38</a:t>
                </a:r>
              </a:p>
            </p:txBody>
          </p:sp>
          <p:sp>
            <p:nvSpPr>
              <p:cNvPr id="40" name="TextBox 39"/>
              <p:cNvSpPr txBox="1"/>
              <p:nvPr/>
            </p:nvSpPr>
            <p:spPr>
              <a:xfrm>
                <a:off x="-2006254" y="4543813"/>
                <a:ext cx="4479778" cy="975971"/>
              </a:xfrm>
              <a:prstGeom prst="rect">
                <a:avLst/>
              </a:prstGeom>
              <a:noFill/>
            </p:spPr>
            <p:txBody>
              <a:bodyPr wrap="square" lIns="277852" tIns="277852" rIns="277852" bIns="27785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91">
                  <a:spcAft>
                    <a:spcPts val="587"/>
                  </a:spcAft>
                  <a:defRPr/>
                </a:pPr>
                <a:r>
                  <a:rPr lang="en-US" sz="2856">
                    <a:solidFill>
                      <a:srgbClr val="FFFFFF"/>
                    </a:solidFill>
                    <a:latin typeface="Segoe UI"/>
                    <a:ea typeface="MS PGothic" panose="020B0600070205080204" pitchFamily="34" charset="-128"/>
                    <a:cs typeface="Segoe UI Semilight" panose="020B0402040204020203" pitchFamily="34" charset="0"/>
                  </a:rPr>
                  <a:t>Azure </a:t>
                </a:r>
                <a:r>
                  <a:rPr lang="en-US" sz="2856">
                    <a:solidFill>
                      <a:srgbClr val="FFFFFF"/>
                    </a:solidFill>
                    <a:latin typeface="Segoe UI"/>
                    <a:ea typeface="MS PGothic" panose="020B0600070205080204" pitchFamily="34" charset="-128"/>
                    <a:cs typeface="Segoe UI Semilight" panose="020B0402040204020203" pitchFamily="34" charset="0"/>
                    <a:hlinkClick r:id="rId5"/>
                  </a:rPr>
                  <a:t>regions</a:t>
                </a:r>
                <a:endParaRPr lang="en-US" sz="2856">
                  <a:solidFill>
                    <a:srgbClr val="FFFFFF"/>
                  </a:solidFill>
                  <a:latin typeface="Segoe UI"/>
                  <a:ea typeface="MS PGothic" panose="020B0600070205080204" pitchFamily="34" charset="-128"/>
                  <a:cs typeface="Segoe UI Semilight" panose="020B0402040204020203" pitchFamily="34" charset="0"/>
                </a:endParaRPr>
              </a:p>
            </p:txBody>
          </p:sp>
        </p:grpSp>
        <p:sp>
          <p:nvSpPr>
            <p:cNvPr id="41" name="TextBox 40"/>
            <p:cNvSpPr txBox="1"/>
            <p:nvPr/>
          </p:nvSpPr>
          <p:spPr>
            <a:xfrm>
              <a:off x="171498" y="4610588"/>
              <a:ext cx="3228901" cy="827178"/>
            </a:xfrm>
            <a:prstGeom prst="rect">
              <a:avLst/>
            </a:prstGeom>
            <a:noFill/>
            <a:ln>
              <a:noFill/>
            </a:ln>
          </p:spPr>
          <p:txBody>
            <a:bodyPr wrap="square" lIns="277852" tIns="277852" rIns="277852" bIns="27785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91">
                <a:lnSpc>
                  <a:spcPct val="100000"/>
                </a:lnSpc>
                <a:spcAft>
                  <a:spcPts val="587"/>
                </a:spcAft>
                <a:defRPr/>
              </a:pPr>
              <a:endParaRPr lang="en-US" sz="1836" b="1">
                <a:solidFill>
                  <a:srgbClr val="FFFFFF"/>
                </a:solidFill>
                <a:latin typeface="Segoe UI"/>
                <a:ea typeface="MS PGothic" panose="020B0600070205080204" pitchFamily="34" charset="-128"/>
                <a:cs typeface="Segoe UI Semibold" panose="020B0702040204020203" pitchFamily="34" charset="0"/>
              </a:endParaRPr>
            </a:p>
          </p:txBody>
        </p:sp>
      </p:grpSp>
      <p:sp>
        <p:nvSpPr>
          <p:cNvPr id="42" name="Oval 41"/>
          <p:cNvSpPr/>
          <p:nvPr/>
        </p:nvSpPr>
        <p:spPr bwMode="auto">
          <a:xfrm>
            <a:off x="9382093" y="4471400"/>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Oval 42"/>
          <p:cNvSpPr/>
          <p:nvPr/>
        </p:nvSpPr>
        <p:spPr bwMode="auto">
          <a:xfrm>
            <a:off x="9671523" y="3087432"/>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Oval 43"/>
          <p:cNvSpPr/>
          <p:nvPr/>
        </p:nvSpPr>
        <p:spPr bwMode="auto">
          <a:xfrm>
            <a:off x="9741881" y="2552322"/>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Oval 44"/>
          <p:cNvSpPr/>
          <p:nvPr/>
        </p:nvSpPr>
        <p:spPr bwMode="auto">
          <a:xfrm>
            <a:off x="8610961" y="3433489"/>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Oval 45"/>
          <p:cNvSpPr/>
          <p:nvPr/>
        </p:nvSpPr>
        <p:spPr bwMode="auto">
          <a:xfrm>
            <a:off x="8913699" y="3593243"/>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Oval 46"/>
          <p:cNvSpPr/>
          <p:nvPr/>
        </p:nvSpPr>
        <p:spPr bwMode="auto">
          <a:xfrm>
            <a:off x="6531123" y="237175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 name="Oval 47"/>
          <p:cNvSpPr/>
          <p:nvPr/>
        </p:nvSpPr>
        <p:spPr bwMode="auto">
          <a:xfrm>
            <a:off x="6103533" y="2330116"/>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Oval 48"/>
          <p:cNvSpPr/>
          <p:nvPr/>
        </p:nvSpPr>
        <p:spPr bwMode="auto">
          <a:xfrm>
            <a:off x="5065781" y="4889419"/>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Oval 49"/>
          <p:cNvSpPr/>
          <p:nvPr/>
        </p:nvSpPr>
        <p:spPr bwMode="auto">
          <a:xfrm>
            <a:off x="3628257" y="2817056"/>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p:cNvSpPr/>
          <p:nvPr/>
        </p:nvSpPr>
        <p:spPr bwMode="auto">
          <a:xfrm>
            <a:off x="3401725" y="2847688"/>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Oval 51"/>
          <p:cNvSpPr/>
          <p:nvPr/>
        </p:nvSpPr>
        <p:spPr bwMode="auto">
          <a:xfrm>
            <a:off x="3494308" y="250970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Oval 52"/>
          <p:cNvSpPr/>
          <p:nvPr/>
        </p:nvSpPr>
        <p:spPr bwMode="auto">
          <a:xfrm>
            <a:off x="3164307" y="243162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Oval 53"/>
          <p:cNvSpPr/>
          <p:nvPr/>
        </p:nvSpPr>
        <p:spPr bwMode="auto">
          <a:xfrm>
            <a:off x="3954692" y="2481480"/>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Oval 54"/>
          <p:cNvSpPr/>
          <p:nvPr/>
        </p:nvSpPr>
        <p:spPr bwMode="auto">
          <a:xfrm>
            <a:off x="3160542" y="3127354"/>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Oval 55"/>
          <p:cNvSpPr/>
          <p:nvPr/>
        </p:nvSpPr>
        <p:spPr bwMode="auto">
          <a:xfrm>
            <a:off x="2569672" y="2837113"/>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Oval 56"/>
          <p:cNvSpPr/>
          <p:nvPr/>
        </p:nvSpPr>
        <p:spPr bwMode="auto">
          <a:xfrm>
            <a:off x="10558260" y="263284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Oval 57"/>
          <p:cNvSpPr/>
          <p:nvPr/>
        </p:nvSpPr>
        <p:spPr bwMode="auto">
          <a:xfrm>
            <a:off x="10305671" y="301414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p:cNvSpPr/>
          <p:nvPr/>
        </p:nvSpPr>
        <p:spPr bwMode="auto">
          <a:xfrm>
            <a:off x="10747758" y="5452546"/>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Oval 59"/>
          <p:cNvSpPr/>
          <p:nvPr/>
        </p:nvSpPr>
        <p:spPr bwMode="auto">
          <a:xfrm>
            <a:off x="10486408" y="5735701"/>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Oval 60"/>
          <p:cNvSpPr/>
          <p:nvPr/>
        </p:nvSpPr>
        <p:spPr bwMode="auto">
          <a:xfrm>
            <a:off x="9520155" y="3410133"/>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Oval 61"/>
          <p:cNvSpPr/>
          <p:nvPr/>
        </p:nvSpPr>
        <p:spPr bwMode="auto">
          <a:xfrm>
            <a:off x="3137043" y="2741179"/>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Oval 62"/>
          <p:cNvSpPr/>
          <p:nvPr/>
        </p:nvSpPr>
        <p:spPr bwMode="auto">
          <a:xfrm>
            <a:off x="8699602" y="3931478"/>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Oval 63"/>
          <p:cNvSpPr/>
          <p:nvPr/>
        </p:nvSpPr>
        <p:spPr bwMode="auto">
          <a:xfrm>
            <a:off x="3718798" y="2951456"/>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3816554" y="277186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6036794" y="2066326"/>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6488852" y="2166248"/>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6317329" y="2495846"/>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317329" y="2083065"/>
            <a:ext cx="280535" cy="280529"/>
          </a:xfrm>
          <a:prstGeom prst="ellipse">
            <a:avLst/>
          </a:prstGeom>
          <a:solidFill>
            <a:schemeClr val="bg1"/>
          </a:solidFill>
          <a:ln w="187325">
            <a:solidFill>
              <a:srgbClr val="001F5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70"/>
          <p:cNvGrpSpPr/>
          <p:nvPr/>
        </p:nvGrpSpPr>
        <p:grpSpPr>
          <a:xfrm>
            <a:off x="270138" y="5423673"/>
            <a:ext cx="10758155" cy="1315134"/>
            <a:chOff x="269294" y="5852140"/>
            <a:chExt cx="10759681" cy="1329672"/>
          </a:xfrm>
          <a:solidFill>
            <a:srgbClr val="008272"/>
          </a:solidFill>
        </p:grpSpPr>
        <p:sp>
          <p:nvSpPr>
            <p:cNvPr id="74" name="TextBox 73"/>
            <p:cNvSpPr txBox="1"/>
            <p:nvPr/>
          </p:nvSpPr>
          <p:spPr>
            <a:xfrm>
              <a:off x="269294" y="5852140"/>
              <a:ext cx="4720397" cy="1320765"/>
            </a:xfrm>
            <a:prstGeom prst="rect">
              <a:avLst/>
            </a:prstGeom>
            <a:noFill/>
          </p:spPr>
          <p:txBody>
            <a:bodyPr wrap="square" lIns="182854" tIns="146283" rIns="182854" bIns="146283" rtlCol="0">
              <a:spAutoFit/>
            </a:bodyPr>
            <a:lstStyle/>
            <a:p>
              <a:pPr defTabSz="932509">
                <a:lnSpc>
                  <a:spcPct val="90000"/>
                </a:lnSpc>
                <a:spcBef>
                  <a:spcPts val="300"/>
                </a:spcBef>
                <a:defRPr/>
              </a:pPr>
              <a:r>
                <a:rPr lang="en-US" sz="204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RECENTLY LAUNCHED: </a:t>
              </a:r>
            </a:p>
            <a:p>
              <a:pPr defTabSz="932509">
                <a:lnSpc>
                  <a:spcPct val="90000"/>
                </a:lnSpc>
                <a:spcBef>
                  <a:spcPts val="300"/>
                </a:spcBef>
                <a:defRPr/>
              </a:pPr>
              <a:r>
                <a:rPr lang="en-US" sz="1428">
                  <a:gradFill>
                    <a:gsLst>
                      <a:gs pos="0">
                        <a:srgbClr val="FFFFFF"/>
                      </a:gs>
                      <a:gs pos="100000">
                        <a:srgbClr val="FFFFFF"/>
                      </a:gs>
                    </a:gsLst>
                    <a:lin ang="5400000" scaled="1"/>
                  </a:gradFill>
                  <a:latin typeface="Segoe UI"/>
                </a:rPr>
                <a:t>US Regions: West US 2 and West Central</a:t>
              </a:r>
            </a:p>
            <a:p>
              <a:pPr defTabSz="932509">
                <a:lnSpc>
                  <a:spcPct val="90000"/>
                </a:lnSpc>
                <a:spcBef>
                  <a:spcPts val="300"/>
                </a:spcBef>
                <a:defRPr/>
              </a:pPr>
              <a:r>
                <a:rPr lang="en-US" sz="1428">
                  <a:gradFill>
                    <a:gsLst>
                      <a:gs pos="0">
                        <a:srgbClr val="FFFFFF"/>
                      </a:gs>
                      <a:gs pos="100000">
                        <a:srgbClr val="FFFFFF"/>
                      </a:gs>
                    </a:gsLst>
                    <a:lin ang="5400000" scaled="1"/>
                  </a:gradFill>
                  <a:latin typeface="Segoe UI"/>
                </a:rPr>
                <a:t>Germany – Launched in Sep 2016</a:t>
              </a:r>
            </a:p>
            <a:p>
              <a:pPr defTabSz="932509">
                <a:lnSpc>
                  <a:spcPct val="90000"/>
                </a:lnSpc>
                <a:spcBef>
                  <a:spcPts val="300"/>
                </a:spcBef>
                <a:defRPr/>
              </a:pPr>
              <a:r>
                <a:rPr lang="en-US" sz="1428">
                  <a:gradFill>
                    <a:gsLst>
                      <a:gs pos="0">
                        <a:srgbClr val="FFFFFF"/>
                      </a:gs>
                      <a:gs pos="100000">
                        <a:srgbClr val="FFFFFF"/>
                      </a:gs>
                    </a:gsLst>
                    <a:lin ang="5400000" scaled="1"/>
                  </a:gradFill>
                  <a:latin typeface="Segoe UI"/>
                </a:rPr>
                <a:t>United Kingdom – Launched in Sep 2016 </a:t>
              </a:r>
            </a:p>
          </p:txBody>
        </p:sp>
        <p:sp>
          <p:nvSpPr>
            <p:cNvPr id="75" name="TextBox 74"/>
            <p:cNvSpPr txBox="1"/>
            <p:nvPr/>
          </p:nvSpPr>
          <p:spPr>
            <a:xfrm>
              <a:off x="5565780" y="5861047"/>
              <a:ext cx="5463195" cy="1320765"/>
            </a:xfrm>
            <a:prstGeom prst="rect">
              <a:avLst/>
            </a:prstGeom>
            <a:noFill/>
          </p:spPr>
          <p:txBody>
            <a:bodyPr wrap="square" lIns="182854" tIns="146283" rIns="182854" bIns="146283" rtlCol="0">
              <a:spAutoFit/>
            </a:bodyPr>
            <a:lstStyle/>
            <a:p>
              <a:pPr defTabSz="932509">
                <a:lnSpc>
                  <a:spcPct val="90000"/>
                </a:lnSpc>
                <a:spcBef>
                  <a:spcPts val="300"/>
                </a:spcBef>
                <a:defRPr/>
              </a:pPr>
              <a:r>
                <a:rPr lang="en-US" sz="2040">
                  <a:solidFill>
                    <a:srgbClr val="FFFFFF"/>
                  </a:solidFill>
                  <a:latin typeface="Segoe UI Semibold" panose="020B0702040204020203" pitchFamily="34" charset="0"/>
                  <a:cs typeface="Segoe UI Semibold" panose="020B0702040204020203" pitchFamily="34" charset="0"/>
                </a:rPr>
                <a:t>NEWLY ANNOUNCED: </a:t>
              </a:r>
            </a:p>
            <a:p>
              <a:pPr defTabSz="932509">
                <a:lnSpc>
                  <a:spcPct val="90000"/>
                </a:lnSpc>
                <a:spcBef>
                  <a:spcPts val="300"/>
                </a:spcBef>
                <a:defRPr/>
              </a:pPr>
              <a:r>
                <a:rPr lang="en-US" sz="1428">
                  <a:solidFill>
                    <a:srgbClr val="FFFFFF"/>
                  </a:solidFill>
                  <a:latin typeface="Segoe UI"/>
                </a:rPr>
                <a:t>France: France Central and France South</a:t>
              </a:r>
            </a:p>
            <a:p>
              <a:pPr defTabSz="932509">
                <a:lnSpc>
                  <a:spcPct val="90000"/>
                </a:lnSpc>
                <a:spcBef>
                  <a:spcPts val="300"/>
                </a:spcBef>
                <a:defRPr/>
              </a:pPr>
              <a:r>
                <a:rPr lang="en-US" sz="1428">
                  <a:solidFill>
                    <a:srgbClr val="FFFFFF"/>
                  </a:solidFill>
                  <a:latin typeface="Segoe UI"/>
                </a:rPr>
                <a:t>Korea: Korea Central and Korea South</a:t>
              </a:r>
            </a:p>
            <a:p>
              <a:pPr defTabSz="932509">
                <a:lnSpc>
                  <a:spcPct val="90000"/>
                </a:lnSpc>
                <a:spcBef>
                  <a:spcPts val="300"/>
                </a:spcBef>
                <a:defRPr/>
              </a:pPr>
              <a:r>
                <a:rPr lang="en-US" sz="1428">
                  <a:solidFill>
                    <a:srgbClr val="FFFFFF"/>
                  </a:solidFill>
                  <a:latin typeface="Segoe UI"/>
                </a:rPr>
                <a:t>DoD East and Central</a:t>
              </a:r>
            </a:p>
          </p:txBody>
        </p:sp>
      </p:grpSp>
      <p:sp>
        <p:nvSpPr>
          <p:cNvPr id="73" name="Title 1"/>
          <p:cNvSpPr txBox="1">
            <a:spLocks/>
          </p:cNvSpPr>
          <p:nvPr/>
        </p:nvSpPr>
        <p:spPr>
          <a:xfrm>
            <a:off x="275482" y="259850"/>
            <a:ext cx="11887878" cy="805946"/>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defRPr/>
            </a:pPr>
            <a:r>
              <a:rPr lang="en-US" sz="4488" spc="-104">
                <a:solidFill>
                  <a:srgbClr val="FFFFFF"/>
                </a:solidFill>
                <a:latin typeface="Segoe UI Light"/>
              </a:rPr>
              <a:t>Achieve global scale, in local regions</a:t>
            </a:r>
          </a:p>
        </p:txBody>
      </p:sp>
      <p:sp>
        <p:nvSpPr>
          <p:cNvPr id="77" name="Freeform 13"/>
          <p:cNvSpPr>
            <a:spLocks noChangeAspect="1" noEditPoints="1"/>
          </p:cNvSpPr>
          <p:nvPr/>
        </p:nvSpPr>
        <p:spPr bwMode="auto">
          <a:xfrm>
            <a:off x="10754229" y="337517"/>
            <a:ext cx="601238" cy="646898"/>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
        <p:nvSpPr>
          <p:cNvPr id="70" name="Rectangle 69"/>
          <p:cNvSpPr/>
          <p:nvPr/>
        </p:nvSpPr>
        <p:spPr>
          <a:xfrm>
            <a:off x="10466763" y="959213"/>
            <a:ext cx="1144854"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Trust</a:t>
            </a:r>
          </a:p>
        </p:txBody>
      </p:sp>
    </p:spTree>
    <p:extLst>
      <p:ext uri="{BB962C8B-B14F-4D97-AF65-F5344CB8AC3E}">
        <p14:creationId xmlns:p14="http://schemas.microsoft.com/office/powerpoint/2010/main" val="3452962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56"/>
                                        </p:tgtEl>
                                        <p:attrNameLst>
                                          <p:attrName>style.visibility</p:attrName>
                                        </p:attrNameLst>
                                      </p:cBhvr>
                                      <p:to>
                                        <p:strVal val="visible"/>
                                      </p:to>
                                    </p:set>
                                    <p:animEffect transition="in" filter="fade">
                                      <p:cBhvr>
                                        <p:cTn id="49" dur="500"/>
                                        <p:tgtEl>
                                          <p:spTgt spid="56"/>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57"/>
                                        </p:tgtEl>
                                        <p:attrNameLst>
                                          <p:attrName>style.visibility</p:attrName>
                                        </p:attrNameLst>
                                      </p:cBhvr>
                                      <p:to>
                                        <p:strVal val="visible"/>
                                      </p:to>
                                    </p:set>
                                    <p:animEffect transition="in" filter="fade">
                                      <p:cBhvr>
                                        <p:cTn id="52" dur="500"/>
                                        <p:tgtEl>
                                          <p:spTgt spid="57"/>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59"/>
                                        </p:tgtEl>
                                        <p:attrNameLst>
                                          <p:attrName>style.visibility</p:attrName>
                                        </p:attrNameLst>
                                      </p:cBhvr>
                                      <p:to>
                                        <p:strVal val="visible"/>
                                      </p:to>
                                    </p:set>
                                    <p:animEffect transition="in" filter="fade">
                                      <p:cBhvr>
                                        <p:cTn id="58" dur="500"/>
                                        <p:tgtEl>
                                          <p:spTgt spid="59"/>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60"/>
                                        </p:tgtEl>
                                        <p:attrNameLst>
                                          <p:attrName>style.visibility</p:attrName>
                                        </p:attrNameLst>
                                      </p:cBhvr>
                                      <p:to>
                                        <p:strVal val="visible"/>
                                      </p:to>
                                    </p:set>
                                    <p:animEffect transition="in" filter="fade">
                                      <p:cBhvr>
                                        <p:cTn id="61" dur="500"/>
                                        <p:tgtEl>
                                          <p:spTgt spid="60"/>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61"/>
                                        </p:tgtEl>
                                        <p:attrNameLst>
                                          <p:attrName>style.visibility</p:attrName>
                                        </p:attrNameLst>
                                      </p:cBhvr>
                                      <p:to>
                                        <p:strVal val="visible"/>
                                      </p:to>
                                    </p:set>
                                    <p:animEffect transition="in" filter="fade">
                                      <p:cBhvr>
                                        <p:cTn id="64" dur="500"/>
                                        <p:tgtEl>
                                          <p:spTgt spid="61"/>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62"/>
                                        </p:tgtEl>
                                        <p:attrNameLst>
                                          <p:attrName>style.visibility</p:attrName>
                                        </p:attrNameLst>
                                      </p:cBhvr>
                                      <p:to>
                                        <p:strVal val="visible"/>
                                      </p:to>
                                    </p:set>
                                    <p:animEffect transition="in" filter="fade">
                                      <p:cBhvr>
                                        <p:cTn id="67" dur="500"/>
                                        <p:tgtEl>
                                          <p:spTgt spid="62"/>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63"/>
                                        </p:tgtEl>
                                        <p:attrNameLst>
                                          <p:attrName>style.visibility</p:attrName>
                                        </p:attrNameLst>
                                      </p:cBhvr>
                                      <p:to>
                                        <p:strVal val="visible"/>
                                      </p:to>
                                    </p:set>
                                    <p:animEffect transition="in" filter="fade">
                                      <p:cBhvr>
                                        <p:cTn id="70" dur="500"/>
                                        <p:tgtEl>
                                          <p:spTgt spid="63"/>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64"/>
                                        </p:tgtEl>
                                        <p:attrNameLst>
                                          <p:attrName>style.visibility</p:attrName>
                                        </p:attrNameLst>
                                      </p:cBhvr>
                                      <p:to>
                                        <p:strVal val="visible"/>
                                      </p:to>
                                    </p:set>
                                    <p:animEffect transition="in" filter="fade">
                                      <p:cBhvr>
                                        <p:cTn id="73" dur="500"/>
                                        <p:tgtEl>
                                          <p:spTgt spid="6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65"/>
                                        </p:tgtEl>
                                        <p:attrNameLst>
                                          <p:attrName>style.visibility</p:attrName>
                                        </p:attrNameLst>
                                      </p:cBhvr>
                                      <p:to>
                                        <p:strVal val="visible"/>
                                      </p:to>
                                    </p:set>
                                    <p:animEffect transition="in" filter="fade">
                                      <p:cBhvr>
                                        <p:cTn id="76" dur="500"/>
                                        <p:tgtEl>
                                          <p:spTgt spid="65"/>
                                        </p:tgtEl>
                                      </p:cBhvr>
                                    </p:animEffect>
                                  </p:childTnLst>
                                </p:cTn>
                              </p:par>
                              <p:par>
                                <p:cTn id="77" presetID="10" presetClass="entr" presetSubtype="0" fill="hold" grpId="0" nodeType="withEffect">
                                  <p:stCondLst>
                                    <p:cond delay="16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grpId="0" nodeType="withEffect">
                                  <p:stCondLst>
                                    <p:cond delay="16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160"/>
                                  </p:stCondLst>
                                  <p:childTnLst>
                                    <p:set>
                                      <p:cBhvr>
                                        <p:cTn id="84" dur="1" fill="hold">
                                          <p:stCondLst>
                                            <p:cond delay="0"/>
                                          </p:stCondLst>
                                        </p:cTn>
                                        <p:tgtEl>
                                          <p:spTgt spid="68"/>
                                        </p:tgtEl>
                                        <p:attrNameLst>
                                          <p:attrName>style.visibility</p:attrName>
                                        </p:attrNameLst>
                                      </p:cBhvr>
                                      <p:to>
                                        <p:strVal val="visible"/>
                                      </p:to>
                                    </p:set>
                                    <p:animEffect transition="in" filter="fade">
                                      <p:cBhvr>
                                        <p:cTn id="85" dur="500"/>
                                        <p:tgtEl>
                                          <p:spTgt spid="68"/>
                                        </p:tgtEl>
                                      </p:cBhvr>
                                    </p:animEffect>
                                  </p:childTnLst>
                                </p:cTn>
                              </p:par>
                              <p:par>
                                <p:cTn id="86" presetID="10" presetClass="entr" presetSubtype="0" fill="hold" grpId="0" nodeType="withEffect">
                                  <p:stCondLst>
                                    <p:cond delay="160"/>
                                  </p:stCondLst>
                                  <p:childTnLst>
                                    <p:set>
                                      <p:cBhvr>
                                        <p:cTn id="87" dur="1" fill="hold">
                                          <p:stCondLst>
                                            <p:cond delay="0"/>
                                          </p:stCondLst>
                                        </p:cTn>
                                        <p:tgtEl>
                                          <p:spTgt spid="69"/>
                                        </p:tgtEl>
                                        <p:attrNameLst>
                                          <p:attrName>style.visibility</p:attrName>
                                        </p:attrNameLst>
                                      </p:cBhvr>
                                      <p:to>
                                        <p:strVal val="visible"/>
                                      </p:to>
                                    </p:set>
                                    <p:animEffect transition="in" filter="fade">
                                      <p:cBhvr>
                                        <p:cTn id="88"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p:cNvSpPr/>
          <p:nvPr/>
        </p:nvSpPr>
        <p:spPr bwMode="auto">
          <a:xfrm>
            <a:off x="883" y="-1"/>
            <a:ext cx="12434711" cy="1587786"/>
          </a:xfrm>
          <a:prstGeom prst="rect">
            <a:avLst/>
          </a:prstGeom>
          <a:solidFill>
            <a:srgbClr val="00BC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10" name="Picture 2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76004" y="4317964"/>
            <a:ext cx="601262" cy="535623"/>
          </a:xfrm>
          <a:prstGeom prst="rect">
            <a:avLst/>
          </a:prstGeom>
        </p:spPr>
      </p:pic>
      <p:sp>
        <p:nvSpPr>
          <p:cNvPr id="511" name="Rectangle 510"/>
          <p:cNvSpPr/>
          <p:nvPr/>
        </p:nvSpPr>
        <p:spPr>
          <a:xfrm>
            <a:off x="5417337" y="4919702"/>
            <a:ext cx="897955" cy="382308"/>
          </a:xfrm>
          <a:prstGeom prst="rect">
            <a:avLst/>
          </a:prstGeom>
        </p:spPr>
        <p:txBody>
          <a:bodyPr wrap="square">
            <a:spAutoFit/>
          </a:bodyPr>
          <a:lstStyle/>
          <a:p>
            <a:pPr algn="ctr" defTabSz="582327" fontAlgn="ctr">
              <a:defRPr/>
            </a:pPr>
            <a:r>
              <a:rPr lang="en-US" sz="918" b="1" kern="0">
                <a:solidFill>
                  <a:srgbClr val="505050"/>
                </a:solidFill>
                <a:latin typeface="Segoe UI"/>
              </a:rPr>
              <a:t>HIPAA / HITECH Act</a:t>
            </a:r>
          </a:p>
        </p:txBody>
      </p:sp>
      <p:sp>
        <p:nvSpPr>
          <p:cNvPr id="512" name="Rectangle 511"/>
          <p:cNvSpPr/>
          <p:nvPr/>
        </p:nvSpPr>
        <p:spPr>
          <a:xfrm>
            <a:off x="749141" y="3518458"/>
            <a:ext cx="968574" cy="382308"/>
          </a:xfrm>
          <a:prstGeom prst="rect">
            <a:avLst/>
          </a:prstGeom>
        </p:spPr>
        <p:txBody>
          <a:bodyPr wrap="square">
            <a:spAutoFit/>
          </a:bodyPr>
          <a:lstStyle/>
          <a:p>
            <a:pPr algn="ctr" defTabSz="582327" fontAlgn="ctr">
              <a:defRPr/>
            </a:pPr>
            <a:r>
              <a:rPr lang="en-US" sz="918" b="1" kern="0">
                <a:solidFill>
                  <a:srgbClr val="505050"/>
                </a:solidFill>
                <a:latin typeface="Segoe UI"/>
              </a:rPr>
              <a:t>Moderate</a:t>
            </a:r>
          </a:p>
          <a:p>
            <a:pPr algn="ctr" defTabSz="582327" fontAlgn="ctr">
              <a:defRPr/>
            </a:pPr>
            <a:r>
              <a:rPr lang="en-US" sz="918" b="1" kern="0">
                <a:solidFill>
                  <a:srgbClr val="505050"/>
                </a:solidFill>
                <a:latin typeface="Segoe UI"/>
              </a:rPr>
              <a:t>JAB P-ATO</a:t>
            </a:r>
          </a:p>
        </p:txBody>
      </p:sp>
      <p:sp>
        <p:nvSpPr>
          <p:cNvPr id="513" name="Rectangle 512"/>
          <p:cNvSpPr/>
          <p:nvPr/>
        </p:nvSpPr>
        <p:spPr>
          <a:xfrm>
            <a:off x="6937014" y="3518458"/>
            <a:ext cx="785087" cy="238240"/>
          </a:xfrm>
          <a:prstGeom prst="rect">
            <a:avLst/>
          </a:prstGeom>
        </p:spPr>
        <p:txBody>
          <a:bodyPr wrap="none">
            <a:spAutoFit/>
          </a:bodyPr>
          <a:lstStyle/>
          <a:p>
            <a:pPr algn="ctr" defTabSz="582327" fontAlgn="ctr">
              <a:defRPr/>
            </a:pPr>
            <a:r>
              <a:rPr lang="en-US" sz="918" b="1" kern="0">
                <a:solidFill>
                  <a:srgbClr val="505050"/>
                </a:solidFill>
                <a:latin typeface="Segoe UI"/>
              </a:rPr>
              <a:t>FIPS 140-2</a:t>
            </a:r>
          </a:p>
        </p:txBody>
      </p:sp>
      <p:pic>
        <p:nvPicPr>
          <p:cNvPr id="514" name="Picture 5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65453" y="4461349"/>
            <a:ext cx="616989" cy="248853"/>
          </a:xfrm>
          <a:prstGeom prst="rect">
            <a:avLst/>
          </a:prstGeom>
        </p:spPr>
      </p:pic>
      <p:sp>
        <p:nvSpPr>
          <p:cNvPr id="515" name="Rectangle 514"/>
          <p:cNvSpPr/>
          <p:nvPr/>
        </p:nvSpPr>
        <p:spPr>
          <a:xfrm>
            <a:off x="10086975" y="4919702"/>
            <a:ext cx="756953" cy="238240"/>
          </a:xfrm>
          <a:prstGeom prst="rect">
            <a:avLst/>
          </a:prstGeom>
        </p:spPr>
        <p:txBody>
          <a:bodyPr wrap="square">
            <a:spAutoFit/>
          </a:bodyPr>
          <a:lstStyle/>
          <a:p>
            <a:pPr algn="ctr" defTabSz="582327" fontAlgn="ctr">
              <a:defRPr/>
            </a:pPr>
            <a:r>
              <a:rPr lang="en-US" sz="918" b="1" kern="0">
                <a:solidFill>
                  <a:srgbClr val="505050"/>
                </a:solidFill>
                <a:latin typeface="Segoe UI"/>
              </a:rPr>
              <a:t>FERPA</a:t>
            </a:r>
          </a:p>
        </p:txBody>
      </p:sp>
      <p:sp>
        <p:nvSpPr>
          <p:cNvPr id="516" name="Rectangle 515"/>
          <p:cNvSpPr/>
          <p:nvPr/>
        </p:nvSpPr>
        <p:spPr>
          <a:xfrm>
            <a:off x="3426095" y="3518458"/>
            <a:ext cx="845578" cy="382308"/>
          </a:xfrm>
          <a:prstGeom prst="rect">
            <a:avLst/>
          </a:prstGeom>
        </p:spPr>
        <p:txBody>
          <a:bodyPr wrap="none">
            <a:spAutoFit/>
          </a:bodyPr>
          <a:lstStyle/>
          <a:p>
            <a:pPr algn="ctr" defTabSz="582327" fontAlgn="ctr">
              <a:defRPr/>
            </a:pPr>
            <a:r>
              <a:rPr lang="en-US" sz="918" b="1" kern="0">
                <a:solidFill>
                  <a:srgbClr val="505050"/>
                </a:solidFill>
                <a:latin typeface="Segoe UI"/>
              </a:rPr>
              <a:t>DoD DISA</a:t>
            </a:r>
          </a:p>
          <a:p>
            <a:pPr algn="ctr" defTabSz="582327" fontAlgn="ctr">
              <a:defRPr/>
            </a:pPr>
            <a:r>
              <a:rPr lang="en-US" sz="918" b="1" kern="0">
                <a:solidFill>
                  <a:srgbClr val="505050"/>
                </a:solidFill>
                <a:latin typeface="Segoe UI"/>
              </a:rPr>
              <a:t>SRG Level 2</a:t>
            </a:r>
          </a:p>
        </p:txBody>
      </p:sp>
      <p:pic>
        <p:nvPicPr>
          <p:cNvPr id="517" name="Picture 5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17901" y="4348199"/>
            <a:ext cx="475157" cy="475154"/>
          </a:xfrm>
          <a:prstGeom prst="rect">
            <a:avLst/>
          </a:prstGeom>
        </p:spPr>
      </p:pic>
      <p:pic>
        <p:nvPicPr>
          <p:cNvPr id="518" name="Picture 51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81461" y="3017759"/>
            <a:ext cx="708744" cy="440384"/>
          </a:xfrm>
          <a:prstGeom prst="rect">
            <a:avLst/>
          </a:prstGeom>
        </p:spPr>
      </p:pic>
      <p:pic>
        <p:nvPicPr>
          <p:cNvPr id="519" name="Picture 51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73237" y="2988865"/>
            <a:ext cx="511357" cy="498172"/>
          </a:xfrm>
          <a:prstGeom prst="rect">
            <a:avLst/>
          </a:prstGeom>
        </p:spPr>
      </p:pic>
      <p:sp>
        <p:nvSpPr>
          <p:cNvPr id="520" name="Rectangle 519"/>
          <p:cNvSpPr/>
          <p:nvPr/>
        </p:nvSpPr>
        <p:spPr>
          <a:xfrm>
            <a:off x="9399323" y="3518458"/>
            <a:ext cx="459738" cy="238240"/>
          </a:xfrm>
          <a:prstGeom prst="rect">
            <a:avLst/>
          </a:prstGeom>
        </p:spPr>
        <p:txBody>
          <a:bodyPr wrap="none">
            <a:spAutoFit/>
          </a:bodyPr>
          <a:lstStyle/>
          <a:p>
            <a:pPr algn="ctr" defTabSz="582327" fontAlgn="ctr">
              <a:defRPr/>
            </a:pPr>
            <a:r>
              <a:rPr lang="en-US" sz="918" b="1" kern="0">
                <a:solidFill>
                  <a:srgbClr val="505050"/>
                </a:solidFill>
                <a:latin typeface="Segoe UI"/>
              </a:rPr>
              <a:t>ITAR</a:t>
            </a:r>
          </a:p>
        </p:txBody>
      </p:sp>
      <p:sp>
        <p:nvSpPr>
          <p:cNvPr id="521" name="Rectangle 520"/>
          <p:cNvSpPr/>
          <p:nvPr/>
        </p:nvSpPr>
        <p:spPr>
          <a:xfrm>
            <a:off x="10501414" y="3518458"/>
            <a:ext cx="422136" cy="238240"/>
          </a:xfrm>
          <a:prstGeom prst="rect">
            <a:avLst/>
          </a:prstGeom>
        </p:spPr>
        <p:txBody>
          <a:bodyPr wrap="none">
            <a:spAutoFit/>
          </a:bodyPr>
          <a:lstStyle/>
          <a:p>
            <a:pPr algn="ctr" defTabSz="582327" fontAlgn="ctr">
              <a:defRPr/>
            </a:pPr>
            <a:r>
              <a:rPr lang="en-US" sz="918" b="1" kern="0">
                <a:solidFill>
                  <a:srgbClr val="505050"/>
                </a:solidFill>
                <a:latin typeface="Segoe UI"/>
              </a:rPr>
              <a:t>CJIS</a:t>
            </a:r>
          </a:p>
        </p:txBody>
      </p:sp>
      <p:sp>
        <p:nvSpPr>
          <p:cNvPr id="522" name="Rectangle 521"/>
          <p:cNvSpPr/>
          <p:nvPr/>
        </p:nvSpPr>
        <p:spPr>
          <a:xfrm>
            <a:off x="7106367" y="4919702"/>
            <a:ext cx="1094143" cy="382308"/>
          </a:xfrm>
          <a:prstGeom prst="rect">
            <a:avLst/>
          </a:prstGeom>
        </p:spPr>
        <p:txBody>
          <a:bodyPr wrap="square">
            <a:spAutoFit/>
          </a:bodyPr>
          <a:lstStyle/>
          <a:p>
            <a:pPr algn="ctr" defTabSz="582327" fontAlgn="ctr">
              <a:defRPr/>
            </a:pPr>
            <a:r>
              <a:rPr lang="en-US" sz="918" b="1" kern="0">
                <a:solidFill>
                  <a:srgbClr val="505050"/>
                </a:solidFill>
                <a:latin typeface="Segoe UI"/>
              </a:rPr>
              <a:t>GxP</a:t>
            </a:r>
          </a:p>
          <a:p>
            <a:pPr algn="ctr" defTabSz="582327" fontAlgn="ctr">
              <a:defRPr/>
            </a:pPr>
            <a:r>
              <a:rPr lang="en-US" sz="918" b="1" kern="0">
                <a:solidFill>
                  <a:srgbClr val="505050"/>
                </a:solidFill>
                <a:latin typeface="Segoe UI"/>
              </a:rPr>
              <a:t>21 CFR Part 11</a:t>
            </a:r>
          </a:p>
        </p:txBody>
      </p:sp>
      <p:sp>
        <p:nvSpPr>
          <p:cNvPr id="523" name="Rectangle 522"/>
          <p:cNvSpPr/>
          <p:nvPr/>
        </p:nvSpPr>
        <p:spPr>
          <a:xfrm>
            <a:off x="11403657" y="3518458"/>
            <a:ext cx="678818" cy="238240"/>
          </a:xfrm>
          <a:prstGeom prst="rect">
            <a:avLst/>
          </a:prstGeom>
        </p:spPr>
        <p:txBody>
          <a:bodyPr wrap="none">
            <a:spAutoFit/>
          </a:bodyPr>
          <a:lstStyle/>
          <a:p>
            <a:pPr algn="ctr" defTabSz="582327" fontAlgn="ctr">
              <a:defRPr/>
            </a:pPr>
            <a:r>
              <a:rPr lang="en-US" sz="918" b="1" kern="0">
                <a:solidFill>
                  <a:srgbClr val="505050"/>
                </a:solidFill>
                <a:latin typeface="Segoe UI"/>
              </a:rPr>
              <a:t>IRS 1075</a:t>
            </a:r>
          </a:p>
        </p:txBody>
      </p:sp>
      <p:pic>
        <p:nvPicPr>
          <p:cNvPr id="524" name="Picture 6" descr="image007"/>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12608" y="2967753"/>
            <a:ext cx="540398" cy="540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5" name="Rectangle 524"/>
          <p:cNvSpPr/>
          <p:nvPr/>
        </p:nvSpPr>
        <p:spPr>
          <a:xfrm>
            <a:off x="8133874" y="3518458"/>
            <a:ext cx="788112" cy="382308"/>
          </a:xfrm>
          <a:prstGeom prst="rect">
            <a:avLst/>
          </a:prstGeom>
        </p:spPr>
        <p:txBody>
          <a:bodyPr wrap="square">
            <a:spAutoFit/>
          </a:bodyPr>
          <a:lstStyle/>
          <a:p>
            <a:pPr algn="ctr" defTabSz="582327" fontAlgn="ctr">
              <a:defRPr/>
            </a:pPr>
            <a:r>
              <a:rPr lang="en-US" sz="918" b="1" kern="0">
                <a:solidFill>
                  <a:srgbClr val="505050"/>
                </a:solidFill>
                <a:latin typeface="Segoe UI"/>
              </a:rPr>
              <a:t>Section 508 VPAT</a:t>
            </a:r>
          </a:p>
        </p:txBody>
      </p:sp>
      <p:pic>
        <p:nvPicPr>
          <p:cNvPr id="537" name="Picture 53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38928" y="1853700"/>
            <a:ext cx="517653" cy="518749"/>
          </a:xfrm>
          <a:prstGeom prst="rect">
            <a:avLst/>
          </a:prstGeom>
        </p:spPr>
      </p:pic>
      <p:sp>
        <p:nvSpPr>
          <p:cNvPr id="538" name="Rectangle 537"/>
          <p:cNvSpPr/>
          <p:nvPr/>
        </p:nvSpPr>
        <p:spPr>
          <a:xfrm>
            <a:off x="1060246" y="2444283"/>
            <a:ext cx="578603"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ISO 27001</a:t>
            </a:r>
          </a:p>
        </p:txBody>
      </p:sp>
      <p:pic>
        <p:nvPicPr>
          <p:cNvPr id="540" name="Picture 53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474057" y="1855751"/>
            <a:ext cx="562156" cy="514648"/>
          </a:xfrm>
          <a:prstGeom prst="rect">
            <a:avLst/>
          </a:prstGeom>
        </p:spPr>
      </p:pic>
      <p:sp>
        <p:nvSpPr>
          <p:cNvPr id="541" name="Rectangle 540"/>
          <p:cNvSpPr/>
          <p:nvPr/>
        </p:nvSpPr>
        <p:spPr>
          <a:xfrm>
            <a:off x="5367257" y="2444283"/>
            <a:ext cx="761319"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SOC 1</a:t>
            </a:r>
          </a:p>
          <a:p>
            <a:pPr algn="ctr" defTabSz="609030" fontAlgn="ctr">
              <a:defRPr/>
            </a:pPr>
            <a:r>
              <a:rPr lang="en-US" sz="918" b="1" kern="0">
                <a:solidFill>
                  <a:srgbClr val="505050"/>
                </a:solidFill>
                <a:latin typeface="Segoe UI"/>
              </a:rPr>
              <a:t>Type 2</a:t>
            </a:r>
          </a:p>
        </p:txBody>
      </p:sp>
      <p:pic>
        <p:nvPicPr>
          <p:cNvPr id="543" name="Picture 14" descr="http://www.theauditpeople.com/sites/default/files/pictures/iso-logo.png"/>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158966" y="1891240"/>
            <a:ext cx="587210" cy="443668"/>
          </a:xfrm>
          <a:prstGeom prst="rect">
            <a:avLst/>
          </a:prstGeom>
          <a:noFill/>
          <a:extLst>
            <a:ext uri="{909E8E84-426E-40DD-AFC4-6F175D3DCCD1}">
              <a14:hiddenFill xmlns:a14="http://schemas.microsoft.com/office/drawing/2010/main">
                <a:solidFill>
                  <a:srgbClr val="FFFFFF"/>
                </a:solidFill>
              </a14:hiddenFill>
            </a:ext>
          </a:extLst>
        </p:spPr>
      </p:pic>
      <p:sp>
        <p:nvSpPr>
          <p:cNvPr id="544" name="Rectangle 543"/>
          <p:cNvSpPr/>
          <p:nvPr/>
        </p:nvSpPr>
        <p:spPr>
          <a:xfrm>
            <a:off x="2181442" y="2444283"/>
            <a:ext cx="578602"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ISO 27018</a:t>
            </a:r>
          </a:p>
        </p:txBody>
      </p:sp>
      <p:pic>
        <p:nvPicPr>
          <p:cNvPr id="546" name="Picture 54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779471" y="1967223"/>
            <a:ext cx="760755" cy="291705"/>
          </a:xfrm>
          <a:prstGeom prst="rect">
            <a:avLst/>
          </a:prstGeom>
        </p:spPr>
      </p:pic>
      <p:sp>
        <p:nvSpPr>
          <p:cNvPr id="547" name="Rectangle 546"/>
          <p:cNvSpPr/>
          <p:nvPr/>
        </p:nvSpPr>
        <p:spPr>
          <a:xfrm>
            <a:off x="8784140" y="2444282"/>
            <a:ext cx="844663" cy="307734"/>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CSA STAR</a:t>
            </a:r>
          </a:p>
          <a:p>
            <a:pPr algn="ctr" defTabSz="609030" fontAlgn="ctr">
              <a:defRPr/>
            </a:pPr>
            <a:r>
              <a:rPr lang="en-US" sz="918" b="1" kern="0">
                <a:solidFill>
                  <a:srgbClr val="505050"/>
                </a:solidFill>
                <a:latin typeface="Segoe UI"/>
              </a:rPr>
              <a:t>Self-Assessment</a:t>
            </a:r>
          </a:p>
          <a:p>
            <a:pPr algn="ctr" defTabSz="609030" fontAlgn="ctr">
              <a:defRPr/>
            </a:pPr>
            <a:endParaRPr lang="en-US" sz="918" b="1" kern="0">
              <a:solidFill>
                <a:srgbClr val="505050"/>
              </a:solidFill>
              <a:latin typeface="Segoe UI"/>
            </a:endParaRPr>
          </a:p>
        </p:txBody>
      </p:sp>
      <p:pic>
        <p:nvPicPr>
          <p:cNvPr id="555" name="Picture 55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44882" y="5815202"/>
            <a:ext cx="585965" cy="191771"/>
          </a:xfrm>
          <a:prstGeom prst="rect">
            <a:avLst/>
          </a:prstGeom>
        </p:spPr>
      </p:pic>
      <p:sp>
        <p:nvSpPr>
          <p:cNvPr id="556" name="Rectangle 555"/>
          <p:cNvSpPr/>
          <p:nvPr/>
        </p:nvSpPr>
        <p:spPr>
          <a:xfrm>
            <a:off x="4251672" y="6268732"/>
            <a:ext cx="1199089"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Singapore</a:t>
            </a:r>
          </a:p>
          <a:p>
            <a:pPr algn="ctr" defTabSz="582327" fontAlgn="ctr">
              <a:defRPr/>
            </a:pPr>
            <a:r>
              <a:rPr lang="en-US" sz="918" b="1" kern="0">
                <a:solidFill>
                  <a:srgbClr val="505050"/>
                </a:solidFill>
                <a:latin typeface="Segoe UI"/>
              </a:rPr>
              <a:t>MTCS</a:t>
            </a:r>
          </a:p>
        </p:txBody>
      </p:sp>
      <p:sp>
        <p:nvSpPr>
          <p:cNvPr id="558" name="Rectangle 557"/>
          <p:cNvSpPr/>
          <p:nvPr/>
        </p:nvSpPr>
        <p:spPr>
          <a:xfrm>
            <a:off x="1828650" y="6268732"/>
            <a:ext cx="1140983"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UK </a:t>
            </a:r>
          </a:p>
          <a:p>
            <a:pPr algn="ctr" defTabSz="582327" fontAlgn="ctr">
              <a:defRPr/>
            </a:pPr>
            <a:r>
              <a:rPr lang="en-US" sz="918" b="1" kern="0">
                <a:solidFill>
                  <a:srgbClr val="505050"/>
                </a:solidFill>
                <a:latin typeface="Segoe UI"/>
              </a:rPr>
              <a:t>G-Cloud</a:t>
            </a:r>
          </a:p>
        </p:txBody>
      </p:sp>
      <p:pic>
        <p:nvPicPr>
          <p:cNvPr id="559" name="Picture 558"/>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226900" y="5725813"/>
            <a:ext cx="370549" cy="370549"/>
          </a:xfrm>
          <a:prstGeom prst="rect">
            <a:avLst/>
          </a:prstGeom>
        </p:spPr>
      </p:pic>
      <p:sp>
        <p:nvSpPr>
          <p:cNvPr id="561" name="Rectangle 560"/>
          <p:cNvSpPr/>
          <p:nvPr/>
        </p:nvSpPr>
        <p:spPr>
          <a:xfrm>
            <a:off x="5098928" y="6268732"/>
            <a:ext cx="976903"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Australia</a:t>
            </a:r>
          </a:p>
          <a:p>
            <a:pPr algn="ctr" defTabSz="582327" fontAlgn="ctr">
              <a:defRPr/>
            </a:pPr>
            <a:r>
              <a:rPr lang="en-US" sz="918" b="1" kern="0">
                <a:solidFill>
                  <a:srgbClr val="505050"/>
                </a:solidFill>
                <a:latin typeface="Segoe UI"/>
              </a:rPr>
              <a:t>IRAP/CCSL</a:t>
            </a:r>
          </a:p>
        </p:txBody>
      </p:sp>
      <p:pic>
        <p:nvPicPr>
          <p:cNvPr id="562" name="Picture 561" descr="IRAP logo">
            <a:hlinkClick r:id="rId15"/>
          </p:cNvPr>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95981" y="5750645"/>
            <a:ext cx="485698" cy="320885"/>
          </a:xfrm>
          <a:prstGeom prst="rect">
            <a:avLst/>
          </a:prstGeom>
          <a:noFill/>
          <a:ln>
            <a:noFill/>
          </a:ln>
        </p:spPr>
      </p:pic>
      <p:pic>
        <p:nvPicPr>
          <p:cNvPr id="564" name="Picture 563" descr="FISC : The Center for Financial Industry Infomation System">
            <a:hlinkClick r:id="rId17" tooltip="&quot;FISC HOME&quot;"/>
          </p:cNvPr>
          <p:cNvPicPr/>
          <p:nvPr/>
        </p:nvPicPr>
        <p:blipFill rotWithShape="1">
          <a:blip r:embed="rId18" cstate="screen">
            <a:extLst>
              <a:ext uri="{28A0092B-C50C-407E-A947-70E740481C1C}">
                <a14:useLocalDpi xmlns:a14="http://schemas.microsoft.com/office/drawing/2010/main"/>
              </a:ext>
            </a:extLst>
          </a:blip>
          <a:srcRect/>
          <a:stretch/>
        </p:blipFill>
        <p:spPr bwMode="auto">
          <a:xfrm>
            <a:off x="4741615" y="4459544"/>
            <a:ext cx="608593" cy="252464"/>
          </a:xfrm>
          <a:prstGeom prst="rect">
            <a:avLst/>
          </a:prstGeom>
          <a:noFill/>
          <a:ln>
            <a:noFill/>
          </a:ln>
        </p:spPr>
      </p:pic>
      <p:sp>
        <p:nvSpPr>
          <p:cNvPr id="565" name="Rectangle 564"/>
          <p:cNvSpPr/>
          <p:nvPr/>
        </p:nvSpPr>
        <p:spPr>
          <a:xfrm>
            <a:off x="4681162" y="4919702"/>
            <a:ext cx="774391" cy="382308"/>
          </a:xfrm>
          <a:prstGeom prst="rect">
            <a:avLst/>
          </a:prstGeom>
        </p:spPr>
        <p:txBody>
          <a:bodyPr wrap="square">
            <a:spAutoFit/>
          </a:bodyPr>
          <a:lstStyle/>
          <a:p>
            <a:pPr algn="ctr" defTabSz="582327" fontAlgn="ctr">
              <a:defRPr/>
            </a:pPr>
            <a:r>
              <a:rPr lang="en-US" sz="918" b="1" kern="0">
                <a:solidFill>
                  <a:srgbClr val="505050"/>
                </a:solidFill>
                <a:latin typeface="Segoe UI"/>
              </a:rPr>
              <a:t>FISC</a:t>
            </a:r>
          </a:p>
          <a:p>
            <a:pPr algn="ctr" defTabSz="582327" fontAlgn="ctr">
              <a:defRPr/>
            </a:pPr>
            <a:r>
              <a:rPr lang="en-US" sz="918" b="1" kern="0">
                <a:solidFill>
                  <a:srgbClr val="505050"/>
                </a:solidFill>
                <a:latin typeface="Segoe UI"/>
              </a:rPr>
              <a:t>Japan</a:t>
            </a:r>
          </a:p>
        </p:txBody>
      </p:sp>
      <p:sp>
        <p:nvSpPr>
          <p:cNvPr id="566" name="Rectangle 565"/>
          <p:cNvSpPr/>
          <p:nvPr/>
        </p:nvSpPr>
        <p:spPr>
          <a:xfrm>
            <a:off x="2291544" y="6268732"/>
            <a:ext cx="1346603"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China</a:t>
            </a:r>
          </a:p>
          <a:p>
            <a:pPr algn="ctr" defTabSz="582327" fontAlgn="ctr">
              <a:defRPr/>
            </a:pPr>
            <a:r>
              <a:rPr lang="en-US" sz="918" b="1" kern="0">
                <a:solidFill>
                  <a:srgbClr val="505050"/>
                </a:solidFill>
                <a:latin typeface="Segoe UI"/>
              </a:rPr>
              <a:t>DJCP</a:t>
            </a:r>
          </a:p>
        </p:txBody>
      </p:sp>
      <p:pic>
        <p:nvPicPr>
          <p:cNvPr id="568" name="Picture 567" descr="http://ts1.mm.bing.net/th?&amp;id=HN.607999990459468225&amp;w=300&amp;h=300&amp;c=0&amp;pid=1.9&amp;rs=0&amp;p=0"/>
          <p:cNvPicPr/>
          <p:nvPr/>
        </p:nvPicPr>
        <p:blipFill>
          <a:blip r:embed="rId19" cstate="screen">
            <a:extLst>
              <a:ext uri="{28A0092B-C50C-407E-A947-70E740481C1C}">
                <a14:useLocalDpi xmlns:a14="http://schemas.microsoft.com/office/drawing/2010/main"/>
              </a:ext>
            </a:extLst>
          </a:blip>
          <a:srcRect/>
          <a:stretch>
            <a:fillRect/>
          </a:stretch>
        </p:blipFill>
        <p:spPr bwMode="auto">
          <a:xfrm>
            <a:off x="6024431" y="5723807"/>
            <a:ext cx="409948" cy="374561"/>
          </a:xfrm>
          <a:prstGeom prst="rect">
            <a:avLst/>
          </a:prstGeom>
          <a:noFill/>
          <a:ln>
            <a:noFill/>
          </a:ln>
        </p:spPr>
      </p:pic>
      <p:sp>
        <p:nvSpPr>
          <p:cNvPr id="569" name="Rectangle 568"/>
          <p:cNvSpPr/>
          <p:nvPr/>
        </p:nvSpPr>
        <p:spPr>
          <a:xfrm>
            <a:off x="5660100" y="6268732"/>
            <a:ext cx="1124448" cy="479292"/>
          </a:xfrm>
          <a:prstGeom prst="rect">
            <a:avLst/>
          </a:prstGeom>
        </p:spPr>
        <p:txBody>
          <a:bodyPr wrap="square" tIns="0">
            <a:spAutoFit/>
          </a:bodyPr>
          <a:lstStyle/>
          <a:p>
            <a:pPr algn="ctr" defTabSz="582327" fontAlgn="ctr">
              <a:defRPr/>
            </a:pPr>
            <a:r>
              <a:rPr lang="en-US" sz="918" b="1" kern="0">
                <a:solidFill>
                  <a:srgbClr val="505050"/>
                </a:solidFill>
                <a:latin typeface="Segoe UI"/>
              </a:rPr>
              <a:t> New </a:t>
            </a:r>
          </a:p>
          <a:p>
            <a:pPr algn="ctr" defTabSz="582327" fontAlgn="ctr">
              <a:defRPr/>
            </a:pPr>
            <a:r>
              <a:rPr lang="en-US" sz="918" b="1" kern="0">
                <a:solidFill>
                  <a:srgbClr val="505050"/>
                </a:solidFill>
                <a:latin typeface="Segoe UI"/>
              </a:rPr>
              <a:t>Zealand </a:t>
            </a:r>
          </a:p>
          <a:p>
            <a:pPr algn="ctr" defTabSz="582327" fontAlgn="ctr">
              <a:defRPr/>
            </a:pPr>
            <a:r>
              <a:rPr lang="en-US" sz="918" b="1" kern="0">
                <a:solidFill>
                  <a:srgbClr val="505050"/>
                </a:solidFill>
                <a:latin typeface="Segoe UI"/>
              </a:rPr>
              <a:t>GCIO</a:t>
            </a:r>
          </a:p>
        </p:txBody>
      </p:sp>
      <p:pic>
        <p:nvPicPr>
          <p:cNvPr id="571" name="Picture 8" descr="image002"/>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294757" y="5686982"/>
            <a:ext cx="448211" cy="44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136166" y="6268732"/>
            <a:ext cx="774174"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China</a:t>
            </a:r>
          </a:p>
          <a:p>
            <a:pPr algn="ctr" defTabSz="582327" fontAlgn="ctr">
              <a:defRPr/>
            </a:pPr>
            <a:r>
              <a:rPr lang="en-US" sz="918" b="1" kern="0">
                <a:solidFill>
                  <a:srgbClr val="505050"/>
                </a:solidFill>
                <a:latin typeface="Segoe UI"/>
              </a:rPr>
              <a:t>GB 18030</a:t>
            </a:r>
          </a:p>
        </p:txBody>
      </p:sp>
      <p:sp>
        <p:nvSpPr>
          <p:cNvPr id="574" name="Rectangle 573"/>
          <p:cNvSpPr/>
          <p:nvPr/>
        </p:nvSpPr>
        <p:spPr>
          <a:xfrm>
            <a:off x="1148014" y="6268732"/>
            <a:ext cx="1152054"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EU</a:t>
            </a:r>
          </a:p>
          <a:p>
            <a:pPr algn="ctr" defTabSz="582327" fontAlgn="ctr">
              <a:defRPr/>
            </a:pPr>
            <a:r>
              <a:rPr lang="en-US" sz="918" b="1" kern="0">
                <a:solidFill>
                  <a:srgbClr val="505050"/>
                </a:solidFill>
                <a:latin typeface="Segoe UI"/>
              </a:rPr>
              <a:t>Model Clauses</a:t>
            </a:r>
          </a:p>
        </p:txBody>
      </p:sp>
      <p:pic>
        <p:nvPicPr>
          <p:cNvPr id="575" name="Picture 574"/>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434928" y="5712894"/>
            <a:ext cx="572015" cy="396387"/>
          </a:xfrm>
          <a:prstGeom prst="rect">
            <a:avLst/>
          </a:prstGeom>
        </p:spPr>
      </p:pic>
      <p:sp>
        <p:nvSpPr>
          <p:cNvPr id="577" name="Rectangle 576"/>
          <p:cNvSpPr/>
          <p:nvPr/>
        </p:nvSpPr>
        <p:spPr>
          <a:xfrm>
            <a:off x="7053459" y="6268732"/>
            <a:ext cx="638123"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ENISA</a:t>
            </a:r>
          </a:p>
          <a:p>
            <a:pPr algn="ctr" defTabSz="582327" fontAlgn="ctr">
              <a:defRPr/>
            </a:pPr>
            <a:r>
              <a:rPr lang="en-US" sz="918" b="1" kern="0">
                <a:solidFill>
                  <a:srgbClr val="505050"/>
                </a:solidFill>
                <a:latin typeface="Segoe UI"/>
              </a:rPr>
              <a:t>IAF</a:t>
            </a:r>
          </a:p>
        </p:txBody>
      </p:sp>
      <p:pic>
        <p:nvPicPr>
          <p:cNvPr id="578" name="Picture 577"/>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168356" y="5708227"/>
            <a:ext cx="429789" cy="405721"/>
          </a:xfrm>
          <a:prstGeom prst="rect">
            <a:avLst/>
          </a:prstGeom>
        </p:spPr>
      </p:pic>
      <p:pic>
        <p:nvPicPr>
          <p:cNvPr id="580" name="Picture 579"/>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810504" y="5778058"/>
            <a:ext cx="443672" cy="266059"/>
          </a:xfrm>
          <a:prstGeom prst="rect">
            <a:avLst/>
          </a:prstGeom>
        </p:spPr>
      </p:pic>
      <p:sp>
        <p:nvSpPr>
          <p:cNvPr id="581" name="Rectangle 580"/>
          <p:cNvSpPr/>
          <p:nvPr/>
        </p:nvSpPr>
        <p:spPr>
          <a:xfrm>
            <a:off x="553620" y="6268732"/>
            <a:ext cx="875082"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Argentina PDPA</a:t>
            </a:r>
          </a:p>
        </p:txBody>
      </p:sp>
      <p:pic>
        <p:nvPicPr>
          <p:cNvPr id="583" name="Picture 582" descr="http://jcispa.jasa.jp/wp/wp-content/themes/jcispa_academica/images/fig_cslogo01.png"/>
          <p:cNvPicPr/>
          <p:nvPr/>
        </p:nvPicPr>
        <p:blipFill>
          <a:blip r:embed="rId24" cstate="screen">
            <a:extLst>
              <a:ext uri="{28A0092B-C50C-407E-A947-70E740481C1C}">
                <a14:useLocalDpi xmlns:a14="http://schemas.microsoft.com/office/drawing/2010/main"/>
              </a:ext>
            </a:extLst>
          </a:blip>
          <a:srcRect/>
          <a:stretch>
            <a:fillRect/>
          </a:stretch>
        </p:blipFill>
        <p:spPr bwMode="auto">
          <a:xfrm>
            <a:off x="7795207" y="5734373"/>
            <a:ext cx="401625" cy="353429"/>
          </a:xfrm>
          <a:prstGeom prst="rect">
            <a:avLst/>
          </a:prstGeom>
          <a:noFill/>
          <a:ln>
            <a:noFill/>
          </a:ln>
        </p:spPr>
      </p:pic>
      <p:sp>
        <p:nvSpPr>
          <p:cNvPr id="584" name="Rectangle 583"/>
          <p:cNvSpPr/>
          <p:nvPr/>
        </p:nvSpPr>
        <p:spPr>
          <a:xfrm>
            <a:off x="7592497" y="6268732"/>
            <a:ext cx="807045"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Japan CS Mark Gold</a:t>
            </a:r>
          </a:p>
        </p:txBody>
      </p:sp>
      <p:pic>
        <p:nvPicPr>
          <p:cNvPr id="585" name="Picture 584" descr="FedRAMP"/>
          <p:cNvPicPr/>
          <p:nvPr/>
        </p:nvPicPr>
        <p:blipFill>
          <a:blip r:embed="rId25">
            <a:extLst>
              <a:ext uri="{28A0092B-C50C-407E-A947-70E740481C1C}">
                <a14:useLocalDpi xmlns:a14="http://schemas.microsoft.com/office/drawing/2010/main"/>
              </a:ext>
            </a:extLst>
          </a:blip>
          <a:srcRect/>
          <a:stretch>
            <a:fillRect/>
          </a:stretch>
        </p:blipFill>
        <p:spPr bwMode="auto">
          <a:xfrm>
            <a:off x="5780461" y="3115780"/>
            <a:ext cx="697119" cy="244341"/>
          </a:xfrm>
          <a:prstGeom prst="rect">
            <a:avLst/>
          </a:prstGeom>
          <a:noFill/>
          <a:ln>
            <a:noFill/>
          </a:ln>
        </p:spPr>
      </p:pic>
      <p:sp>
        <p:nvSpPr>
          <p:cNvPr id="586" name="Rectangle 585"/>
          <p:cNvSpPr/>
          <p:nvPr/>
        </p:nvSpPr>
        <p:spPr>
          <a:xfrm>
            <a:off x="5698829" y="3518458"/>
            <a:ext cx="822689" cy="238240"/>
          </a:xfrm>
          <a:prstGeom prst="rect">
            <a:avLst/>
          </a:prstGeom>
        </p:spPr>
        <p:txBody>
          <a:bodyPr wrap="none">
            <a:spAutoFit/>
          </a:bodyPr>
          <a:lstStyle/>
          <a:p>
            <a:pPr algn="ctr" defTabSz="582327" fontAlgn="ctr">
              <a:defRPr/>
            </a:pPr>
            <a:r>
              <a:rPr lang="en-US" sz="918" b="1" kern="0">
                <a:solidFill>
                  <a:srgbClr val="505050"/>
                </a:solidFill>
                <a:latin typeface="Segoe UI"/>
              </a:rPr>
              <a:t>SP 800-171</a:t>
            </a:r>
          </a:p>
        </p:txBody>
      </p:sp>
      <p:sp>
        <p:nvSpPr>
          <p:cNvPr id="587" name="Rectangle 586"/>
          <p:cNvSpPr/>
          <p:nvPr/>
        </p:nvSpPr>
        <p:spPr>
          <a:xfrm>
            <a:off x="3740655" y="6268732"/>
            <a:ext cx="739438"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China</a:t>
            </a:r>
          </a:p>
          <a:p>
            <a:pPr algn="ctr" defTabSz="582327" fontAlgn="ctr">
              <a:defRPr/>
            </a:pPr>
            <a:r>
              <a:rPr lang="en-US" sz="918" b="1" kern="0">
                <a:solidFill>
                  <a:srgbClr val="505050"/>
                </a:solidFill>
                <a:latin typeface="Segoe UI"/>
              </a:rPr>
              <a:t>TRUCS</a:t>
            </a:r>
          </a:p>
        </p:txBody>
      </p:sp>
      <p:sp>
        <p:nvSpPr>
          <p:cNvPr id="588" name="Rectangle 587"/>
          <p:cNvSpPr/>
          <p:nvPr/>
        </p:nvSpPr>
        <p:spPr>
          <a:xfrm>
            <a:off x="8389235" y="6268732"/>
            <a:ext cx="594266"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Spain</a:t>
            </a:r>
          </a:p>
          <a:p>
            <a:pPr algn="ctr" defTabSz="582327" fontAlgn="ctr">
              <a:defRPr/>
            </a:pPr>
            <a:r>
              <a:rPr lang="en-US" sz="918" b="1" kern="0">
                <a:solidFill>
                  <a:srgbClr val="505050"/>
                </a:solidFill>
                <a:latin typeface="Segoe UI"/>
              </a:rPr>
              <a:t>ENS</a:t>
            </a:r>
          </a:p>
        </p:txBody>
      </p:sp>
      <p:sp>
        <p:nvSpPr>
          <p:cNvPr id="599" name="Rectangle 598"/>
          <p:cNvSpPr/>
          <p:nvPr/>
        </p:nvSpPr>
        <p:spPr>
          <a:xfrm>
            <a:off x="667290" y="4919703"/>
            <a:ext cx="875116"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PCI DSS</a:t>
            </a:r>
          </a:p>
          <a:p>
            <a:pPr algn="ctr" defTabSz="609030" fontAlgn="ctr">
              <a:defRPr/>
            </a:pPr>
            <a:r>
              <a:rPr lang="en-US" sz="918" b="1" kern="0">
                <a:solidFill>
                  <a:srgbClr val="505050"/>
                </a:solidFill>
                <a:latin typeface="Segoe UI"/>
              </a:rPr>
              <a:t>Level 1</a:t>
            </a:r>
          </a:p>
        </p:txBody>
      </p:sp>
      <p:pic>
        <p:nvPicPr>
          <p:cNvPr id="601" name="Picture 600"/>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575065" y="4299159"/>
            <a:ext cx="573233" cy="573233"/>
          </a:xfrm>
          <a:prstGeom prst="rect">
            <a:avLst/>
          </a:prstGeom>
        </p:spPr>
      </p:pic>
      <p:sp>
        <p:nvSpPr>
          <p:cNvPr id="602" name="Rectangle 601"/>
          <p:cNvSpPr/>
          <p:nvPr/>
        </p:nvSpPr>
        <p:spPr>
          <a:xfrm>
            <a:off x="1530725" y="4919703"/>
            <a:ext cx="661912" cy="307734"/>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CDSA</a:t>
            </a:r>
          </a:p>
        </p:txBody>
      </p:sp>
      <p:sp>
        <p:nvSpPr>
          <p:cNvPr id="604" name="Rectangle 603"/>
          <p:cNvSpPr/>
          <p:nvPr/>
        </p:nvSpPr>
        <p:spPr>
          <a:xfrm>
            <a:off x="3661196" y="4919703"/>
            <a:ext cx="1190863" cy="307734"/>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Shared</a:t>
            </a:r>
          </a:p>
          <a:p>
            <a:pPr algn="ctr" defTabSz="609030" fontAlgn="ctr">
              <a:defRPr/>
            </a:pPr>
            <a:r>
              <a:rPr lang="en-US" sz="918" b="1" kern="0">
                <a:solidFill>
                  <a:srgbClr val="505050"/>
                </a:solidFill>
                <a:latin typeface="Segoe UI"/>
              </a:rPr>
              <a:t>Assessments</a:t>
            </a:r>
          </a:p>
        </p:txBody>
      </p:sp>
      <p:pic>
        <p:nvPicPr>
          <p:cNvPr id="605" name="Picture 60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959275" y="4430338"/>
            <a:ext cx="628153" cy="310876"/>
          </a:xfrm>
          <a:prstGeom prst="rect">
            <a:avLst/>
          </a:prstGeom>
        </p:spPr>
      </p:pic>
      <p:sp>
        <p:nvSpPr>
          <p:cNvPr id="606" name="Rectangle 605"/>
          <p:cNvSpPr/>
          <p:nvPr/>
        </p:nvSpPr>
        <p:spPr>
          <a:xfrm>
            <a:off x="2208195" y="4919703"/>
            <a:ext cx="761319"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MPAA</a:t>
            </a:r>
          </a:p>
        </p:txBody>
      </p:sp>
      <p:sp>
        <p:nvSpPr>
          <p:cNvPr id="608" name="Rectangle 607"/>
          <p:cNvSpPr/>
          <p:nvPr/>
        </p:nvSpPr>
        <p:spPr>
          <a:xfrm>
            <a:off x="6548661" y="6268732"/>
            <a:ext cx="529132" cy="307734"/>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Japan </a:t>
            </a:r>
            <a:br>
              <a:rPr lang="en-US" sz="918" b="1" kern="0">
                <a:solidFill>
                  <a:srgbClr val="505050"/>
                </a:solidFill>
                <a:latin typeface="Segoe UI"/>
              </a:rPr>
            </a:br>
            <a:r>
              <a:rPr lang="en-US" sz="918" b="1" kern="0">
                <a:solidFill>
                  <a:srgbClr val="505050"/>
                </a:solidFill>
                <a:latin typeface="Segoe UI"/>
              </a:rPr>
              <a:t>My</a:t>
            </a:r>
          </a:p>
          <a:p>
            <a:pPr algn="ctr" defTabSz="609030" fontAlgn="ctr">
              <a:defRPr/>
            </a:pPr>
            <a:r>
              <a:rPr lang="en-US" sz="918" b="1" kern="0">
                <a:solidFill>
                  <a:srgbClr val="505050"/>
                </a:solidFill>
                <a:latin typeface="Segoe UI"/>
              </a:rPr>
              <a:t>Number </a:t>
            </a:r>
            <a:br>
              <a:rPr lang="en-US" sz="918" b="1" kern="0">
                <a:solidFill>
                  <a:srgbClr val="505050"/>
                </a:solidFill>
                <a:latin typeface="Segoe UI"/>
              </a:rPr>
            </a:br>
            <a:r>
              <a:rPr lang="en-US" sz="918" b="1" kern="0">
                <a:solidFill>
                  <a:srgbClr val="505050"/>
                </a:solidFill>
                <a:latin typeface="Segoe UI"/>
              </a:rPr>
              <a:t>Act</a:t>
            </a:r>
          </a:p>
        </p:txBody>
      </p:sp>
      <p:pic>
        <p:nvPicPr>
          <p:cNvPr id="609" name="Picture 608"/>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6561777" y="5713612"/>
            <a:ext cx="516016" cy="394951"/>
          </a:xfrm>
          <a:prstGeom prst="rect">
            <a:avLst/>
          </a:prstGeom>
        </p:spPr>
      </p:pic>
      <p:pic>
        <p:nvPicPr>
          <p:cNvPr id="611" name="Picture 610"/>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3063024" y="4363069"/>
            <a:ext cx="669104" cy="445414"/>
          </a:xfrm>
          <a:prstGeom prst="rect">
            <a:avLst/>
          </a:prstGeom>
        </p:spPr>
      </p:pic>
      <p:sp>
        <p:nvSpPr>
          <p:cNvPr id="612" name="Rectangle 611"/>
          <p:cNvSpPr/>
          <p:nvPr/>
        </p:nvSpPr>
        <p:spPr>
          <a:xfrm>
            <a:off x="2978780" y="4919703"/>
            <a:ext cx="761319"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FACT</a:t>
            </a:r>
          </a:p>
          <a:p>
            <a:pPr algn="ctr" defTabSz="609030" fontAlgn="ctr">
              <a:defRPr/>
            </a:pPr>
            <a:r>
              <a:rPr lang="en-US" sz="918" b="1" kern="0">
                <a:solidFill>
                  <a:srgbClr val="505050"/>
                </a:solidFill>
                <a:latin typeface="Segoe UI"/>
              </a:rPr>
              <a:t>UK</a:t>
            </a:r>
          </a:p>
        </p:txBody>
      </p:sp>
      <p:sp>
        <p:nvSpPr>
          <p:cNvPr id="613" name="Rectangle 612"/>
          <p:cNvSpPr/>
          <p:nvPr/>
        </p:nvSpPr>
        <p:spPr>
          <a:xfrm>
            <a:off x="2016215" y="3518458"/>
            <a:ext cx="968574" cy="382308"/>
          </a:xfrm>
          <a:prstGeom prst="rect">
            <a:avLst/>
          </a:prstGeom>
        </p:spPr>
        <p:txBody>
          <a:bodyPr wrap="square">
            <a:spAutoFit/>
          </a:bodyPr>
          <a:lstStyle/>
          <a:p>
            <a:pPr algn="ctr" defTabSz="582327" fontAlgn="ctr">
              <a:defRPr/>
            </a:pPr>
            <a:r>
              <a:rPr lang="en-US" sz="918" b="1" kern="0">
                <a:solidFill>
                  <a:srgbClr val="505050"/>
                </a:solidFill>
                <a:latin typeface="Segoe UI"/>
              </a:rPr>
              <a:t>High</a:t>
            </a:r>
          </a:p>
          <a:p>
            <a:pPr algn="ctr" defTabSz="582327" fontAlgn="ctr">
              <a:defRPr/>
            </a:pPr>
            <a:r>
              <a:rPr lang="en-US" sz="918" b="1" kern="0">
                <a:solidFill>
                  <a:srgbClr val="505050"/>
                </a:solidFill>
                <a:latin typeface="Segoe UI"/>
              </a:rPr>
              <a:t>JAB P-ATO</a:t>
            </a:r>
          </a:p>
        </p:txBody>
      </p:sp>
      <p:pic>
        <p:nvPicPr>
          <p:cNvPr id="614" name="Picture 15" descr="http://www.filetransferglossary.com/wp-content/uploads/2011/01/FIPS_140-2_validated_logo.gif"/>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7048518" y="2963364"/>
            <a:ext cx="553171" cy="549173"/>
          </a:xfrm>
          <a:prstGeom prst="rect">
            <a:avLst/>
          </a:prstGeom>
          <a:noFill/>
          <a:extLst>
            <a:ext uri="{909E8E84-426E-40DD-AFC4-6F175D3DCCD1}">
              <a14:hiddenFill xmlns:a14="http://schemas.microsoft.com/office/drawing/2010/main">
                <a:solidFill>
                  <a:srgbClr val="FFFFFF"/>
                </a:solidFill>
              </a14:hiddenFill>
            </a:ext>
          </a:extLst>
        </p:spPr>
      </p:pic>
      <p:pic>
        <p:nvPicPr>
          <p:cNvPr id="615" name="Picture 17" descr="https://upload.wikimedia.org/wikipedia/commons/thumb/4/43/US-FederalTradeCommission-Seal.svg/2000px-US-FederalTradeCommission-Seal.svg.png"/>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10884998" y="4343893"/>
            <a:ext cx="483765" cy="483765"/>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749944" y="4919702"/>
            <a:ext cx="756953" cy="238240"/>
          </a:xfrm>
          <a:prstGeom prst="rect">
            <a:avLst/>
          </a:prstGeom>
        </p:spPr>
        <p:txBody>
          <a:bodyPr wrap="square">
            <a:spAutoFit/>
          </a:bodyPr>
          <a:lstStyle/>
          <a:p>
            <a:pPr algn="ctr" defTabSz="582327" fontAlgn="ctr">
              <a:defRPr/>
            </a:pPr>
            <a:r>
              <a:rPr lang="en-US" sz="918" b="1" kern="0">
                <a:solidFill>
                  <a:srgbClr val="505050"/>
                </a:solidFill>
                <a:latin typeface="Segoe UI"/>
              </a:rPr>
              <a:t>GLBA</a:t>
            </a:r>
          </a:p>
        </p:txBody>
      </p:sp>
      <p:sp>
        <p:nvSpPr>
          <p:cNvPr id="617" name="Rectangle 616"/>
          <p:cNvSpPr/>
          <p:nvPr/>
        </p:nvSpPr>
        <p:spPr>
          <a:xfrm>
            <a:off x="4535221" y="3518458"/>
            <a:ext cx="845578" cy="382308"/>
          </a:xfrm>
          <a:prstGeom prst="rect">
            <a:avLst/>
          </a:prstGeom>
        </p:spPr>
        <p:txBody>
          <a:bodyPr wrap="none">
            <a:spAutoFit/>
          </a:bodyPr>
          <a:lstStyle/>
          <a:p>
            <a:pPr algn="ctr" defTabSz="582327" fontAlgn="ctr">
              <a:defRPr/>
            </a:pPr>
            <a:r>
              <a:rPr lang="en-US" sz="918" b="1" kern="0">
                <a:solidFill>
                  <a:srgbClr val="505050"/>
                </a:solidFill>
                <a:latin typeface="Segoe UI"/>
              </a:rPr>
              <a:t>DoD DISA</a:t>
            </a:r>
          </a:p>
          <a:p>
            <a:pPr algn="ctr" defTabSz="582327" fontAlgn="ctr">
              <a:defRPr/>
            </a:pPr>
            <a:r>
              <a:rPr lang="en-US" sz="918" b="1" kern="0">
                <a:solidFill>
                  <a:srgbClr val="505050"/>
                </a:solidFill>
                <a:latin typeface="Segoe UI"/>
              </a:rPr>
              <a:t>SRG Level 4</a:t>
            </a:r>
          </a:p>
        </p:txBody>
      </p:sp>
      <p:pic>
        <p:nvPicPr>
          <p:cNvPr id="618" name="Picture 617" descr="Spain ENS Logo"/>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8394448" y="5684268"/>
            <a:ext cx="592695" cy="453638"/>
          </a:xfrm>
          <a:prstGeom prst="rect">
            <a:avLst/>
          </a:prstGeom>
          <a:noFill/>
          <a:extLst>
            <a:ext uri="{909E8E84-426E-40DD-AFC4-6F175D3DCCD1}">
              <a14:hiddenFill xmlns:a14="http://schemas.microsoft.com/office/drawing/2010/main">
                <a:solidFill>
                  <a:srgbClr val="FFFFFF"/>
                </a:solidFill>
              </a14:hiddenFill>
            </a:ext>
          </a:extLst>
        </p:spPr>
      </p:pic>
      <p:pic>
        <p:nvPicPr>
          <p:cNvPr id="620" name="Picture 2" descr="https://www.basefarm.com/sites/default/files/media/Article/basefarm-pci-dss_0.jp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812075" y="4374789"/>
            <a:ext cx="617891" cy="421974"/>
          </a:xfrm>
          <a:prstGeom prst="rect">
            <a:avLst/>
          </a:prstGeom>
          <a:noFill/>
          <a:extLst>
            <a:ext uri="{909E8E84-426E-40DD-AFC4-6F175D3DCCD1}">
              <a14:hiddenFill xmlns:a14="http://schemas.microsoft.com/office/drawing/2010/main">
                <a:solidFill>
                  <a:srgbClr val="FFFFFF"/>
                </a:solidFill>
              </a14:hiddenFill>
            </a:ext>
          </a:extLst>
        </p:spPr>
      </p:pic>
      <p:pic>
        <p:nvPicPr>
          <p:cNvPr id="621" name="Picture 6" descr="http://www.elevation-us.com/wp-content/uploads/2016/01/CMS-logo.pn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8125423" y="4354058"/>
            <a:ext cx="926873" cy="463436"/>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8246311" y="4919702"/>
            <a:ext cx="756953" cy="238240"/>
          </a:xfrm>
          <a:prstGeom prst="rect">
            <a:avLst/>
          </a:prstGeom>
        </p:spPr>
        <p:txBody>
          <a:bodyPr wrap="square">
            <a:spAutoFit/>
          </a:bodyPr>
          <a:lstStyle/>
          <a:p>
            <a:pPr algn="ctr" defTabSz="582327" fontAlgn="ctr">
              <a:defRPr/>
            </a:pPr>
            <a:r>
              <a:rPr lang="en-US" sz="918" b="1" kern="0">
                <a:solidFill>
                  <a:srgbClr val="505050"/>
                </a:solidFill>
                <a:latin typeface="Segoe UI"/>
              </a:rPr>
              <a:t>MARS-E</a:t>
            </a:r>
          </a:p>
        </p:txBody>
      </p:sp>
      <p:sp>
        <p:nvSpPr>
          <p:cNvPr id="623" name="Rectangle 622"/>
          <p:cNvSpPr/>
          <p:nvPr/>
        </p:nvSpPr>
        <p:spPr>
          <a:xfrm>
            <a:off x="11687226" y="4919702"/>
            <a:ext cx="489167" cy="238240"/>
          </a:xfrm>
          <a:prstGeom prst="rect">
            <a:avLst/>
          </a:prstGeom>
        </p:spPr>
        <p:txBody>
          <a:bodyPr wrap="none">
            <a:spAutoFit/>
          </a:bodyPr>
          <a:lstStyle/>
          <a:p>
            <a:pPr algn="ctr" defTabSz="582215" fontAlgn="ctr">
              <a:defRPr/>
            </a:pPr>
            <a:r>
              <a:rPr lang="en-US" sz="918" b="1" kern="0">
                <a:solidFill>
                  <a:srgbClr val="505050"/>
                </a:soli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516839" y="4452919"/>
            <a:ext cx="683073" cy="265714"/>
          </a:xfrm>
          <a:prstGeom prst="rect">
            <a:avLst/>
          </a:prstGeom>
          <a:noFill/>
          <a:extLst>
            <a:ext uri="{909E8E84-426E-40DD-AFC4-6F175D3DCCD1}">
              <a14:hiddenFill xmlns:a14="http://schemas.microsoft.com/office/drawing/2010/main">
                <a:solidFill>
                  <a:srgbClr val="FFFFFF"/>
                </a:solidFill>
              </a14:hiddenFill>
            </a:ext>
          </a:extLst>
        </p:spPr>
      </p:pic>
      <p:pic>
        <p:nvPicPr>
          <p:cNvPr id="625" name="Picture 624"/>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3865814" y="5721366"/>
            <a:ext cx="524661" cy="379442"/>
          </a:xfrm>
          <a:prstGeom prst="rect">
            <a:avLst/>
          </a:prstGeom>
        </p:spPr>
      </p:pic>
      <p:pic>
        <p:nvPicPr>
          <p:cNvPr id="626" name="Picture 625"/>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187558" y="3017759"/>
            <a:ext cx="708744" cy="440384"/>
          </a:xfrm>
          <a:prstGeom prst="rect">
            <a:avLst/>
          </a:prstGeom>
        </p:spPr>
      </p:pic>
      <p:pic>
        <p:nvPicPr>
          <p:cNvPr id="628" name="Picture 14" descr="http://www.theauditpeople.com/sites/default/files/pictures/iso-logo.png"/>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83801" y="1891240"/>
            <a:ext cx="587210" cy="443668"/>
          </a:xfrm>
          <a:prstGeom prst="rect">
            <a:avLst/>
          </a:prstGeom>
          <a:noFill/>
          <a:extLst>
            <a:ext uri="{909E8E84-426E-40DD-AFC4-6F175D3DCCD1}">
              <a14:hiddenFill xmlns:a14="http://schemas.microsoft.com/office/drawing/2010/main">
                <a:solidFill>
                  <a:srgbClr val="FFFFFF"/>
                </a:solidFill>
              </a14:hiddenFill>
            </a:ext>
          </a:extLst>
        </p:spPr>
      </p:pic>
      <p:sp>
        <p:nvSpPr>
          <p:cNvPr id="629" name="Rectangle 628"/>
          <p:cNvSpPr/>
          <p:nvPr/>
        </p:nvSpPr>
        <p:spPr>
          <a:xfrm>
            <a:off x="3306278" y="2444283"/>
            <a:ext cx="578602"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ISO 27017</a:t>
            </a:r>
          </a:p>
        </p:txBody>
      </p:sp>
      <p:pic>
        <p:nvPicPr>
          <p:cNvPr id="631" name="Picture 63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14239" y="1855751"/>
            <a:ext cx="562156" cy="514648"/>
          </a:xfrm>
          <a:prstGeom prst="rect">
            <a:avLst/>
          </a:prstGeom>
        </p:spPr>
      </p:pic>
      <p:sp>
        <p:nvSpPr>
          <p:cNvPr id="632" name="Rectangle 631"/>
          <p:cNvSpPr/>
          <p:nvPr/>
        </p:nvSpPr>
        <p:spPr>
          <a:xfrm>
            <a:off x="6507439" y="2444283"/>
            <a:ext cx="761319"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SOC 2</a:t>
            </a:r>
          </a:p>
          <a:p>
            <a:pPr algn="ctr" defTabSz="609030" fontAlgn="ctr">
              <a:defRPr/>
            </a:pPr>
            <a:r>
              <a:rPr lang="en-US" sz="918" b="1" kern="0">
                <a:solidFill>
                  <a:srgbClr val="505050"/>
                </a:solidFill>
                <a:latin typeface="Segoe UI"/>
              </a:rPr>
              <a:t>Type 2</a:t>
            </a:r>
          </a:p>
        </p:txBody>
      </p:sp>
      <p:pic>
        <p:nvPicPr>
          <p:cNvPr id="634" name="Picture 63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711048" y="1855751"/>
            <a:ext cx="562156" cy="514648"/>
          </a:xfrm>
          <a:prstGeom prst="rect">
            <a:avLst/>
          </a:prstGeom>
        </p:spPr>
      </p:pic>
      <p:sp>
        <p:nvSpPr>
          <p:cNvPr id="635" name="Rectangle 634"/>
          <p:cNvSpPr/>
          <p:nvPr/>
        </p:nvSpPr>
        <p:spPr>
          <a:xfrm>
            <a:off x="7604249" y="2444283"/>
            <a:ext cx="761319"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SOC 3</a:t>
            </a:r>
          </a:p>
        </p:txBody>
      </p:sp>
      <p:sp>
        <p:nvSpPr>
          <p:cNvPr id="636" name="Rectangle 635"/>
          <p:cNvSpPr/>
          <p:nvPr/>
        </p:nvSpPr>
        <p:spPr>
          <a:xfrm>
            <a:off x="9669575" y="6268732"/>
            <a:ext cx="735553"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India</a:t>
            </a:r>
          </a:p>
          <a:p>
            <a:pPr algn="ctr" defTabSz="582327" fontAlgn="ctr">
              <a:defRPr/>
            </a:pPr>
            <a:r>
              <a:rPr lang="en-US" sz="918" b="1" kern="0" err="1">
                <a:solidFill>
                  <a:srgbClr val="505050"/>
                </a:solidFill>
                <a:latin typeface="Segoe UI"/>
              </a:rPr>
              <a:t>MeitY</a:t>
            </a:r>
            <a:endParaRPr lang="en-US" sz="918" b="1" kern="0">
              <a:solidFill>
                <a:srgbClr val="505050"/>
              </a:solidFill>
              <a:latin typeface="Segoe UI"/>
            </a:endParaRPr>
          </a:p>
        </p:txBody>
      </p:sp>
      <p:pic>
        <p:nvPicPr>
          <p:cNvPr id="637" name="Picture 10" descr="http://flaglane.com/download/canadian-flag/canadian-flag-graphic.png"/>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10502233" y="5795995"/>
            <a:ext cx="460368" cy="230185"/>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10322281" y="6268732"/>
            <a:ext cx="811176" cy="479292"/>
          </a:xfrm>
          <a:prstGeom prst="rect">
            <a:avLst/>
          </a:prstGeom>
        </p:spPr>
        <p:txBody>
          <a:bodyPr wrap="square" tIns="0">
            <a:spAutoFit/>
          </a:bodyPr>
          <a:lstStyle/>
          <a:p>
            <a:pPr algn="ctr" defTabSz="582327" fontAlgn="ctr">
              <a:defRPr/>
            </a:pPr>
            <a:r>
              <a:rPr lang="en-US" sz="918" b="1" kern="0">
                <a:solidFill>
                  <a:srgbClr val="505050"/>
                </a:solidFill>
                <a:latin typeface="Segoe UI"/>
              </a:rPr>
              <a:t>Canada</a:t>
            </a:r>
          </a:p>
          <a:p>
            <a:pPr algn="ctr" defTabSz="582327" fontAlgn="ctr">
              <a:defRPr/>
            </a:pPr>
            <a:r>
              <a:rPr lang="en-US" sz="918" b="1" kern="0">
                <a:solidFill>
                  <a:srgbClr val="505050"/>
                </a:solidFill>
                <a:latin typeface="Segoe UI"/>
              </a:rPr>
              <a:t>Privacy</a:t>
            </a:r>
            <a:br>
              <a:rPr lang="en-US" sz="918" b="1" kern="0">
                <a:solidFill>
                  <a:srgbClr val="505050"/>
                </a:solidFill>
                <a:latin typeface="Segoe UI"/>
              </a:rPr>
            </a:br>
            <a:r>
              <a:rPr lang="en-US" sz="918" b="1" kern="0">
                <a:solidFill>
                  <a:srgbClr val="505050"/>
                </a:solidFill>
                <a:latin typeface="Segoe UI"/>
              </a:rPr>
              <a:t>Laws</a:t>
            </a:r>
          </a:p>
        </p:txBody>
      </p:sp>
      <p:pic>
        <p:nvPicPr>
          <p:cNvPr id="639" name="Picture 2" descr="http://vignette1.wikia.nocookie.net/logopedia/images/5/57/MPAA.jpg/revision/latest?cb=20110729215806"/>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2335129" y="4444587"/>
            <a:ext cx="506054" cy="282378"/>
          </a:xfrm>
          <a:prstGeom prst="rect">
            <a:avLst/>
          </a:prstGeom>
          <a:noFill/>
          <a:extLst>
            <a:ext uri="{909E8E84-426E-40DD-AFC4-6F175D3DCCD1}">
              <a14:hiddenFill xmlns:a14="http://schemas.microsoft.com/office/drawing/2010/main">
                <a:solidFill>
                  <a:srgbClr val="FFFFFF"/>
                </a:solidFill>
              </a14:hiddenFill>
            </a:ext>
          </a:extLst>
        </p:spPr>
      </p:pic>
      <p:pic>
        <p:nvPicPr>
          <p:cNvPr id="640" name="Picture 639"/>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1182887" y="5685055"/>
            <a:ext cx="314672" cy="452064"/>
          </a:xfrm>
          <a:prstGeom prst="rect">
            <a:avLst/>
          </a:prstGeom>
        </p:spPr>
      </p:pic>
      <p:sp>
        <p:nvSpPr>
          <p:cNvPr id="641" name="Rectangle 640"/>
          <p:cNvSpPr/>
          <p:nvPr/>
        </p:nvSpPr>
        <p:spPr>
          <a:xfrm>
            <a:off x="10961511" y="6268732"/>
            <a:ext cx="800871"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Privacy</a:t>
            </a:r>
          </a:p>
          <a:p>
            <a:pPr algn="ctr" defTabSz="582327" fontAlgn="ctr">
              <a:defRPr/>
            </a:pPr>
            <a:r>
              <a:rPr lang="en-US" sz="918" b="1" kern="0">
                <a:solidFill>
                  <a:srgbClr val="505050"/>
                </a:solidFill>
                <a:latin typeface="Segoe UI"/>
              </a:rPr>
              <a:t>Shield</a:t>
            </a:r>
          </a:p>
        </p:txBody>
      </p:sp>
      <p:pic>
        <p:nvPicPr>
          <p:cNvPr id="643" name="Picture 14" descr="http://www.theauditpeople.com/sites/default/files/pictures/iso-logo.png"/>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363644" y="1891240"/>
            <a:ext cx="587210" cy="443668"/>
          </a:xfrm>
          <a:prstGeom prst="rect">
            <a:avLst/>
          </a:prstGeom>
          <a:noFill/>
          <a:extLst>
            <a:ext uri="{909E8E84-426E-40DD-AFC4-6F175D3DCCD1}">
              <a14:hiddenFill xmlns:a14="http://schemas.microsoft.com/office/drawing/2010/main">
                <a:solidFill>
                  <a:srgbClr val="FFFFFF"/>
                </a:solidFill>
              </a14:hiddenFill>
            </a:ext>
          </a:extLst>
        </p:spPr>
      </p:pic>
      <p:sp>
        <p:nvSpPr>
          <p:cNvPr id="644" name="Rectangle 643"/>
          <p:cNvSpPr/>
          <p:nvPr/>
        </p:nvSpPr>
        <p:spPr>
          <a:xfrm>
            <a:off x="4386121" y="2444283"/>
            <a:ext cx="578602" cy="153866"/>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ISO 22301</a:t>
            </a:r>
          </a:p>
        </p:txBody>
      </p:sp>
      <p:pic>
        <p:nvPicPr>
          <p:cNvPr id="645" name="Picture 644"/>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9802908" y="5788914"/>
            <a:ext cx="439711" cy="244347"/>
          </a:xfrm>
          <a:prstGeom prst="rect">
            <a:avLst/>
          </a:prstGeom>
        </p:spPr>
      </p:pic>
      <p:pic>
        <p:nvPicPr>
          <p:cNvPr id="646" name="Picture 645"/>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10440930" y="2976765"/>
            <a:ext cx="503314" cy="522372"/>
          </a:xfrm>
          <a:prstGeom prst="rect">
            <a:avLst/>
          </a:prstGeom>
        </p:spPr>
      </p:pic>
      <p:sp>
        <p:nvSpPr>
          <p:cNvPr id="647" name="Rectangle 646"/>
          <p:cNvSpPr/>
          <p:nvPr/>
        </p:nvSpPr>
        <p:spPr>
          <a:xfrm>
            <a:off x="11401256" y="6268732"/>
            <a:ext cx="1114076" cy="479292"/>
          </a:xfrm>
          <a:prstGeom prst="rect">
            <a:avLst/>
          </a:prstGeom>
        </p:spPr>
        <p:txBody>
          <a:bodyPr wrap="square" tIns="0">
            <a:spAutoFit/>
          </a:bodyPr>
          <a:lstStyle/>
          <a:p>
            <a:pPr algn="ctr" defTabSz="582215" fontAlgn="ctr">
              <a:defRPr/>
            </a:pPr>
            <a:r>
              <a:rPr lang="en-US" sz="918" b="1" kern="0">
                <a:solidFill>
                  <a:srgbClr val="505050"/>
                </a:solidFill>
                <a:latin typeface="Segoe UI"/>
              </a:rPr>
              <a:t>Germany IT</a:t>
            </a:r>
          </a:p>
          <a:p>
            <a:pPr algn="ctr" defTabSz="582215" fontAlgn="ctr">
              <a:defRPr/>
            </a:pPr>
            <a:r>
              <a:rPr lang="en-US" sz="918" b="1" kern="0">
                <a:solidFill>
                  <a:srgbClr val="505050"/>
                </a:solidFill>
                <a:latin typeface="Segoe UI"/>
              </a:rPr>
              <a:t>Grundschutz</a:t>
            </a:r>
          </a:p>
          <a:p>
            <a:pPr algn="ctr" defTabSz="582215" fontAlgn="ctr">
              <a:defRPr/>
            </a:pPr>
            <a:r>
              <a:rPr lang="en-US" sz="918" b="1" kern="0">
                <a:solidFill>
                  <a:srgbClr val="505050"/>
                </a:solidFill>
                <a:latin typeface="Segoe UI"/>
              </a:rPr>
              <a:t>workbook</a:t>
            </a:r>
          </a:p>
        </p:txBody>
      </p:sp>
      <p:pic>
        <p:nvPicPr>
          <p:cNvPr id="648" name="Picture 647"/>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11699404" y="5685952"/>
            <a:ext cx="467199" cy="450271"/>
          </a:xfrm>
          <a:prstGeom prst="rect">
            <a:avLst/>
          </a:prstGeom>
        </p:spPr>
      </p:pic>
      <p:pic>
        <p:nvPicPr>
          <p:cNvPr id="649" name="Picture 648"/>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3579562" y="2982716"/>
            <a:ext cx="511321" cy="510470"/>
          </a:xfrm>
          <a:prstGeom prst="rect">
            <a:avLst/>
          </a:prstGeom>
        </p:spPr>
      </p:pic>
      <p:pic>
        <p:nvPicPr>
          <p:cNvPr id="650" name="Picture 649"/>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4692019" y="2982716"/>
            <a:ext cx="511321" cy="510470"/>
          </a:xfrm>
          <a:prstGeom prst="rect">
            <a:avLst/>
          </a:prstGeom>
        </p:spPr>
      </p:pic>
      <p:sp>
        <p:nvSpPr>
          <p:cNvPr id="651" name="Rectangle 650"/>
          <p:cNvSpPr/>
          <p:nvPr/>
        </p:nvSpPr>
        <p:spPr>
          <a:xfrm>
            <a:off x="8961550" y="6268732"/>
            <a:ext cx="807045" cy="335223"/>
          </a:xfrm>
          <a:prstGeom prst="rect">
            <a:avLst/>
          </a:prstGeom>
        </p:spPr>
        <p:txBody>
          <a:bodyPr wrap="square" tIns="0">
            <a:spAutoFit/>
          </a:bodyPr>
          <a:lstStyle/>
          <a:p>
            <a:pPr algn="ctr" defTabSz="582327" fontAlgn="ctr">
              <a:defRPr/>
            </a:pPr>
            <a:r>
              <a:rPr lang="en-US" sz="918" b="1" kern="0">
                <a:solidFill>
                  <a:srgbClr val="505050"/>
                </a:solidFill>
                <a:latin typeface="Segoe UI"/>
              </a:rPr>
              <a:t>Spain</a:t>
            </a:r>
          </a:p>
          <a:p>
            <a:pPr algn="ctr" defTabSz="582327" fontAlgn="ctr">
              <a:defRPr/>
            </a:pPr>
            <a:r>
              <a:rPr lang="en-US" sz="918" b="1" kern="0">
                <a:solidFill>
                  <a:srgbClr val="505050"/>
                </a:solidFill>
                <a:latin typeface="Segoe UI"/>
              </a:rPr>
              <a:t>DPA</a:t>
            </a:r>
          </a:p>
        </p:txBody>
      </p:sp>
      <p:pic>
        <p:nvPicPr>
          <p:cNvPr id="652" name="Picture 651"/>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9146846" y="5663971"/>
            <a:ext cx="430515" cy="494233"/>
          </a:xfrm>
          <a:prstGeom prst="rect">
            <a:avLst/>
          </a:prstGeom>
        </p:spPr>
      </p:pic>
      <p:pic>
        <p:nvPicPr>
          <p:cNvPr id="653" name="Picture 652"/>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11394518" y="3108006"/>
            <a:ext cx="709711" cy="259889"/>
          </a:xfrm>
          <a:prstGeom prst="rect">
            <a:avLst/>
          </a:prstGeom>
        </p:spPr>
      </p:pic>
      <p:pic>
        <p:nvPicPr>
          <p:cNvPr id="655" name="Picture 65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28954" y="1967223"/>
            <a:ext cx="760755" cy="291705"/>
          </a:xfrm>
          <a:prstGeom prst="rect">
            <a:avLst/>
          </a:prstGeom>
        </p:spPr>
      </p:pic>
      <p:sp>
        <p:nvSpPr>
          <p:cNvPr id="656" name="Rectangle 655"/>
          <p:cNvSpPr/>
          <p:nvPr/>
        </p:nvSpPr>
        <p:spPr>
          <a:xfrm>
            <a:off x="10033623" y="2444282"/>
            <a:ext cx="844663" cy="307734"/>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CSA STAR</a:t>
            </a:r>
          </a:p>
          <a:p>
            <a:pPr algn="ctr" defTabSz="609030" fontAlgn="ctr">
              <a:defRPr/>
            </a:pPr>
            <a:r>
              <a:rPr lang="en-US" sz="918" b="1" kern="0">
                <a:solidFill>
                  <a:srgbClr val="505050"/>
                </a:solidFill>
                <a:latin typeface="Segoe UI"/>
              </a:rPr>
              <a:t>Certification</a:t>
            </a:r>
          </a:p>
          <a:p>
            <a:pPr algn="ctr" defTabSz="609030" fontAlgn="ctr">
              <a:defRPr/>
            </a:pPr>
            <a:endParaRPr lang="en-US" sz="918" b="1" kern="0">
              <a:solidFill>
                <a:srgbClr val="505050"/>
              </a:solidFill>
              <a:latin typeface="Segoe UI"/>
            </a:endParaRPr>
          </a:p>
        </p:txBody>
      </p:sp>
      <p:pic>
        <p:nvPicPr>
          <p:cNvPr id="658" name="Picture 65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324013" y="1967223"/>
            <a:ext cx="760755" cy="291705"/>
          </a:xfrm>
          <a:prstGeom prst="rect">
            <a:avLst/>
          </a:prstGeom>
        </p:spPr>
      </p:pic>
      <p:sp>
        <p:nvSpPr>
          <p:cNvPr id="659" name="Rectangle 658"/>
          <p:cNvSpPr/>
          <p:nvPr/>
        </p:nvSpPr>
        <p:spPr>
          <a:xfrm>
            <a:off x="11328682" y="2444282"/>
            <a:ext cx="844663" cy="307734"/>
          </a:xfrm>
          <a:prstGeom prst="rect">
            <a:avLst/>
          </a:prstGeom>
        </p:spPr>
        <p:txBody>
          <a:bodyPr wrap="none" lIns="0" tIns="0" rIns="0" bIns="0">
            <a:noAutofit/>
          </a:bodyPr>
          <a:lstStyle/>
          <a:p>
            <a:pPr algn="ctr" defTabSz="609030" fontAlgn="ctr">
              <a:defRPr/>
            </a:pPr>
            <a:r>
              <a:rPr lang="en-US" sz="918" b="1" kern="0">
                <a:solidFill>
                  <a:srgbClr val="505050"/>
                </a:solidFill>
                <a:latin typeface="Segoe UI"/>
              </a:rPr>
              <a:t>CSA STAR</a:t>
            </a:r>
          </a:p>
          <a:p>
            <a:pPr algn="ctr" defTabSz="609030" fontAlgn="ctr">
              <a:defRPr/>
            </a:pPr>
            <a:r>
              <a:rPr lang="en-US" sz="918" b="1" kern="0">
                <a:solidFill>
                  <a:srgbClr val="505050"/>
                </a:solidFill>
                <a:latin typeface="Segoe UI"/>
              </a:rPr>
              <a:t>Attestation</a:t>
            </a:r>
          </a:p>
          <a:p>
            <a:pPr algn="ctr" defTabSz="609030" fontAlgn="ctr">
              <a:defRPr/>
            </a:pPr>
            <a:endParaRPr lang="en-US" sz="918" b="1" kern="0">
              <a:solidFill>
                <a:srgbClr val="505050"/>
              </a:solidFill>
              <a:latin typeface="Segoe UI"/>
            </a:endParaRPr>
          </a:p>
        </p:txBody>
      </p:sp>
      <p:pic>
        <p:nvPicPr>
          <p:cNvPr id="660" name="Picture 9" descr="https://hitrustalliance.net/content/uploads/2015/09/HiTrustLogo.png"/>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6439413" y="4469090"/>
            <a:ext cx="559705" cy="233371"/>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347308" y="4919702"/>
            <a:ext cx="756953" cy="238240"/>
          </a:xfrm>
          <a:prstGeom prst="rect">
            <a:avLst/>
          </a:prstGeom>
        </p:spPr>
        <p:txBody>
          <a:bodyPr wrap="square">
            <a:spAutoFit/>
          </a:bodyPr>
          <a:lstStyle/>
          <a:p>
            <a:pPr algn="ctr" defTabSz="582327" fontAlgn="ctr">
              <a:defRPr/>
            </a:pPr>
            <a:r>
              <a:rPr lang="en-US" sz="918" b="1" kern="0">
                <a:solidFill>
                  <a:srgbClr val="505050"/>
                </a:solidFill>
                <a:latin typeface="Segoe UI"/>
              </a:rPr>
              <a:t>HITRUST</a:t>
            </a:r>
          </a:p>
        </p:txBody>
      </p:sp>
      <p:pic>
        <p:nvPicPr>
          <p:cNvPr id="662" name="Picture 661"/>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9274957" y="4452990"/>
            <a:ext cx="663280" cy="265572"/>
          </a:xfrm>
          <a:prstGeom prst="rect">
            <a:avLst/>
          </a:prstGeom>
        </p:spPr>
      </p:pic>
      <p:sp>
        <p:nvSpPr>
          <p:cNvPr id="663" name="Rectangle 662"/>
          <p:cNvSpPr/>
          <p:nvPr/>
        </p:nvSpPr>
        <p:spPr>
          <a:xfrm>
            <a:off x="9069337" y="4919702"/>
            <a:ext cx="1094143" cy="382308"/>
          </a:xfrm>
          <a:prstGeom prst="rect">
            <a:avLst/>
          </a:prstGeom>
        </p:spPr>
        <p:txBody>
          <a:bodyPr wrap="square">
            <a:spAutoFit/>
          </a:bodyPr>
          <a:lstStyle/>
          <a:p>
            <a:pPr algn="ctr" defTabSz="582327" fontAlgn="ctr">
              <a:defRPr/>
            </a:pPr>
            <a:r>
              <a:rPr lang="en-US" sz="918" b="1" kern="0">
                <a:solidFill>
                  <a:srgbClr val="505050"/>
                </a:solidFill>
                <a:latin typeface="Segoe UI"/>
              </a:rPr>
              <a:t>IG Toolkit</a:t>
            </a:r>
          </a:p>
          <a:p>
            <a:pPr algn="ctr" defTabSz="582327" fontAlgn="ctr">
              <a:defRPr/>
            </a:pPr>
            <a:r>
              <a:rPr lang="en-US" sz="918" b="1" kern="0">
                <a:solidFill>
                  <a:srgbClr val="505050"/>
                </a:solidFill>
                <a:latin typeface="Segoe UI"/>
              </a:rPr>
              <a:t>UK</a:t>
            </a:r>
          </a:p>
        </p:txBody>
      </p:sp>
      <p:pic>
        <p:nvPicPr>
          <p:cNvPr id="664" name="Picture 663"/>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2571636" y="5531575"/>
            <a:ext cx="759026" cy="759026"/>
          </a:xfrm>
          <a:prstGeom prst="rect">
            <a:avLst/>
          </a:prstGeom>
        </p:spPr>
      </p:pic>
      <p:sp>
        <p:nvSpPr>
          <p:cNvPr id="167" name="Rectangle 166"/>
          <p:cNvSpPr/>
          <p:nvPr/>
        </p:nvSpPr>
        <p:spPr>
          <a:xfrm>
            <a:off x="10466763" y="959213"/>
            <a:ext cx="1144854" cy="507309"/>
          </a:xfrm>
          <a:prstGeom prst="rect">
            <a:avLst/>
          </a:prstGeom>
        </p:spPr>
        <p:txBody>
          <a:bodyPr wrap="square" lIns="182854" tIns="146283" rIns="182854" bIns="146283">
            <a:spAutoFit/>
          </a:bodyPr>
          <a:lstStyle/>
          <a:p>
            <a:pPr algn="ctr" defTabSz="932330">
              <a:lnSpc>
                <a:spcPct val="90000"/>
              </a:lnSpc>
              <a:defRPr/>
            </a:pPr>
            <a:r>
              <a:rPr lang="en-US" sz="1428" b="1" kern="0">
                <a:ln w="3175">
                  <a:noFill/>
                </a:ln>
                <a:solidFill>
                  <a:srgbClr val="FFFFFF"/>
                </a:solidFill>
                <a:latin typeface="Segoe UI"/>
                <a:cs typeface="Segoe UI" pitchFamily="34" charset="0"/>
              </a:rPr>
              <a:t>Trust</a:t>
            </a:r>
          </a:p>
        </p:txBody>
      </p:sp>
      <p:sp>
        <p:nvSpPr>
          <p:cNvPr id="168" name="Freeform 13"/>
          <p:cNvSpPr>
            <a:spLocks noChangeAspect="1" noEditPoints="1"/>
          </p:cNvSpPr>
          <p:nvPr/>
        </p:nvSpPr>
        <p:spPr bwMode="auto">
          <a:xfrm>
            <a:off x="10754229" y="337517"/>
            <a:ext cx="601238" cy="646898"/>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
        <p:nvSpPr>
          <p:cNvPr id="140" name="Title 2"/>
          <p:cNvSpPr txBox="1">
            <a:spLocks/>
          </p:cNvSpPr>
          <p:nvPr/>
        </p:nvSpPr>
        <p:spPr>
          <a:xfrm>
            <a:off x="275482" y="295731"/>
            <a:ext cx="11887878" cy="917444"/>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buSzPct val="90000"/>
              <a:tabLst>
                <a:tab pos="1490091" algn="l"/>
              </a:tabLst>
            </a:pPr>
            <a:r>
              <a:rPr lang="en-US" sz="4488" spc="-102">
                <a:solidFill>
                  <a:srgbClr val="FFFFFF"/>
                </a:solidFill>
                <a:latin typeface="Segoe UI Light"/>
              </a:rPr>
              <a:t>The most trusted and compliant cloud</a:t>
            </a:r>
          </a:p>
          <a:p>
            <a:pPr defTabSz="932384">
              <a:buSzPct val="90000"/>
              <a:tabLst>
                <a:tab pos="1490091" algn="l"/>
              </a:tabLst>
            </a:pPr>
            <a:endParaRPr lang="en-US" sz="4488" spc="-102">
              <a:solidFill>
                <a:srgbClr val="FFFFFF"/>
              </a:solidFill>
              <a:latin typeface="Segoe UI Light"/>
            </a:endParaRPr>
          </a:p>
          <a:p>
            <a:pPr defTabSz="932384">
              <a:buSzPct val="90000"/>
              <a:tabLst>
                <a:tab pos="1490091" algn="l"/>
              </a:tabLst>
            </a:pPr>
            <a:endParaRPr lang="en-US" sz="4488" spc="-102">
              <a:solidFill>
                <a:srgbClr val="FFFFFF"/>
              </a:solidFill>
              <a:latin typeface="Segoe UI Light"/>
            </a:endParaRPr>
          </a:p>
          <a:p>
            <a:pPr defTabSz="932384">
              <a:buSzPct val="90000"/>
              <a:tabLst>
                <a:tab pos="1490091" algn="l"/>
              </a:tabLst>
              <a:defRPr/>
            </a:pPr>
            <a:endParaRPr lang="en-US" sz="4488" spc="-102">
              <a:gradFill>
                <a:gsLst>
                  <a:gs pos="1250">
                    <a:srgbClr val="FFFFFF"/>
                  </a:gs>
                  <a:gs pos="100000">
                    <a:srgbClr val="FFFFFF"/>
                  </a:gs>
                </a:gsLst>
                <a:lin ang="5400000" scaled="0"/>
              </a:gradFill>
              <a:latin typeface="Segoe UI Light"/>
            </a:endParaRPr>
          </a:p>
        </p:txBody>
      </p:sp>
      <p:grpSp>
        <p:nvGrpSpPr>
          <p:cNvPr id="6" name="Group 5"/>
          <p:cNvGrpSpPr/>
          <p:nvPr/>
        </p:nvGrpSpPr>
        <p:grpSpPr>
          <a:xfrm>
            <a:off x="174332" y="1777955"/>
            <a:ext cx="418380" cy="1014727"/>
            <a:chOff x="170065" y="1743251"/>
            <a:chExt cx="410214" cy="994921"/>
          </a:xfrm>
        </p:grpSpPr>
        <p:sp>
          <p:nvSpPr>
            <p:cNvPr id="529" name="Rectangle 528"/>
            <p:cNvSpPr/>
            <p:nvPr/>
          </p:nvSpPr>
          <p:spPr bwMode="auto">
            <a:xfrm>
              <a:off x="170065" y="1758412"/>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a:solidFill>
                    <a:srgbClr val="00B6F0"/>
                  </a:solidFill>
                  <a:latin typeface="Segoe UI"/>
                  <a:cs typeface="Segoe UI Semibold" panose="020B0702040204020203" pitchFamily="34" charset="0"/>
                </a:rPr>
                <a:t>GLOBAL</a:t>
              </a:r>
            </a:p>
          </p:txBody>
        </p:sp>
        <p:cxnSp>
          <p:nvCxnSpPr>
            <p:cNvPr id="4" name="Straight Connector 3"/>
            <p:cNvCxnSpPr/>
            <p:nvPr/>
          </p:nvCxnSpPr>
          <p:spPr>
            <a:xfrm>
              <a:off x="575486" y="1743251"/>
              <a:ext cx="0" cy="994921"/>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178203" y="3030670"/>
            <a:ext cx="409957" cy="1014727"/>
            <a:chOff x="173860" y="3056857"/>
            <a:chExt cx="401955" cy="994921"/>
          </a:xfrm>
        </p:grpSpPr>
        <p:sp>
          <p:nvSpPr>
            <p:cNvPr id="506" name="Rectangle 505"/>
            <p:cNvSpPr/>
            <p:nvPr/>
          </p:nvSpPr>
          <p:spPr bwMode="auto">
            <a:xfrm>
              <a:off x="173860" y="3072018"/>
              <a:ext cx="401955"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a:solidFill>
                    <a:srgbClr val="0064B7"/>
                  </a:solidFill>
                  <a:latin typeface="Segoe UI"/>
                  <a:cs typeface="Segoe UI Semibold" panose="020B0702040204020203" pitchFamily="34" charset="0"/>
                </a:rPr>
                <a:t>US GOV</a:t>
              </a:r>
            </a:p>
          </p:txBody>
        </p:sp>
        <p:cxnSp>
          <p:nvCxnSpPr>
            <p:cNvPr id="143" name="Straight Connector 142"/>
            <p:cNvCxnSpPr/>
            <p:nvPr/>
          </p:nvCxnSpPr>
          <p:spPr>
            <a:xfrm>
              <a:off x="575486" y="3056857"/>
              <a:ext cx="0" cy="994921"/>
            </a:xfrm>
            <a:prstGeom prst="line">
              <a:avLst/>
            </a:prstGeom>
            <a:ln w="28575">
              <a:solidFill>
                <a:srgbClr val="0064B7"/>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74333" y="4277773"/>
            <a:ext cx="418380" cy="1014727"/>
            <a:chOff x="170066" y="4351344"/>
            <a:chExt cx="410214" cy="994921"/>
          </a:xfrm>
        </p:grpSpPr>
        <p:sp>
          <p:nvSpPr>
            <p:cNvPr id="592" name="Rectangle 591"/>
            <p:cNvSpPr/>
            <p:nvPr/>
          </p:nvSpPr>
          <p:spPr bwMode="auto">
            <a:xfrm>
              <a:off x="170066" y="4366505"/>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a:solidFill>
                    <a:srgbClr val="00327A"/>
                  </a:solidFill>
                  <a:latin typeface="Segoe UI"/>
                  <a:cs typeface="Segoe UI Semibold" panose="020B0702040204020203" pitchFamily="34" charset="0"/>
                </a:rPr>
                <a:t>INDUSTRY</a:t>
              </a:r>
            </a:p>
          </p:txBody>
        </p:sp>
        <p:cxnSp>
          <p:nvCxnSpPr>
            <p:cNvPr id="144" name="Straight Connector 143"/>
            <p:cNvCxnSpPr/>
            <p:nvPr/>
          </p:nvCxnSpPr>
          <p:spPr>
            <a:xfrm>
              <a:off x="575486" y="4351344"/>
              <a:ext cx="0" cy="994921"/>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78535" y="5684468"/>
            <a:ext cx="409289" cy="1014727"/>
            <a:chOff x="174186" y="5594296"/>
            <a:chExt cx="401300" cy="994921"/>
          </a:xfrm>
        </p:grpSpPr>
        <p:sp>
          <p:nvSpPr>
            <p:cNvPr id="550" name="Rectangle 549"/>
            <p:cNvSpPr/>
            <p:nvPr/>
          </p:nvSpPr>
          <p:spPr bwMode="auto">
            <a:xfrm>
              <a:off x="174186" y="5609457"/>
              <a:ext cx="401300"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a:solidFill>
                    <a:srgbClr val="001F50"/>
                  </a:solidFill>
                  <a:latin typeface="Segoe UI"/>
                  <a:cs typeface="Segoe UI Semibold" panose="020B0702040204020203" pitchFamily="34" charset="0"/>
                </a:rPr>
                <a:t>REGIONAL</a:t>
              </a:r>
            </a:p>
          </p:txBody>
        </p:sp>
        <p:cxnSp>
          <p:nvCxnSpPr>
            <p:cNvPr id="145" name="Straight Connector 144"/>
            <p:cNvCxnSpPr/>
            <p:nvPr/>
          </p:nvCxnSpPr>
          <p:spPr>
            <a:xfrm>
              <a:off x="575486" y="5594296"/>
              <a:ext cx="0" cy="994921"/>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712617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flipH="1">
            <a:off x="4741615" y="3470870"/>
            <a:ext cx="6699201" cy="0"/>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4741615" y="2351746"/>
            <a:ext cx="6699201" cy="0"/>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83" y="497"/>
            <a:ext cx="5303094" cy="69940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err="1">
              <a:solidFill>
                <a:srgbClr val="505050"/>
              </a:solidFill>
              <a:latin typeface="Segoe UI"/>
              <a:ea typeface="Segoe UI" pitchFamily="34" charset="0"/>
              <a:cs typeface="Segoe UI" pitchFamily="34" charset="0"/>
            </a:endParaRPr>
          </a:p>
        </p:txBody>
      </p:sp>
      <p:sp>
        <p:nvSpPr>
          <p:cNvPr id="25" name="Title 1"/>
          <p:cNvSpPr txBox="1">
            <a:spLocks/>
          </p:cNvSpPr>
          <p:nvPr/>
        </p:nvSpPr>
        <p:spPr>
          <a:xfrm>
            <a:off x="883" y="2657133"/>
            <a:ext cx="5303094" cy="1709948"/>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5399" spc="-40">
                <a:gradFill>
                  <a:gsLst>
                    <a:gs pos="1250">
                      <a:srgbClr val="FFFFFF"/>
                    </a:gs>
                    <a:gs pos="100000">
                      <a:srgbClr val="FFFFFF"/>
                    </a:gs>
                  </a:gsLst>
                  <a:lin ang="5400000" scaled="0"/>
                </a:gradFill>
                <a:latin typeface="Segoe UI Light"/>
              </a:rPr>
              <a:t>Microsoft </a:t>
            </a:r>
            <a:br>
              <a:rPr lang="en-US" sz="5399" spc="-40">
                <a:gradFill>
                  <a:gsLst>
                    <a:gs pos="1250">
                      <a:srgbClr val="FFFFFF"/>
                    </a:gs>
                    <a:gs pos="100000">
                      <a:srgbClr val="FFFFFF"/>
                    </a:gs>
                  </a:gsLst>
                  <a:lin ang="5400000" scaled="0"/>
                </a:gradFill>
                <a:latin typeface="Segoe UI Light"/>
              </a:rPr>
            </a:br>
            <a:r>
              <a:rPr lang="en-US" sz="5399" spc="-40">
                <a:gradFill>
                  <a:gsLst>
                    <a:gs pos="1250">
                      <a:srgbClr val="FFFFFF"/>
                    </a:gs>
                    <a:gs pos="100000">
                      <a:srgbClr val="FFFFFF"/>
                    </a:gs>
                  </a:gsLst>
                  <a:lin ang="5400000" scaled="0"/>
                </a:gradFill>
                <a:latin typeface="Segoe UI Light"/>
              </a:rPr>
              <a:t>Azure</a:t>
            </a:r>
          </a:p>
        </p:txBody>
      </p:sp>
      <p:sp>
        <p:nvSpPr>
          <p:cNvPr id="20" name="Rectangle 19"/>
          <p:cNvSpPr/>
          <p:nvPr/>
        </p:nvSpPr>
        <p:spPr>
          <a:xfrm>
            <a:off x="6768444" y="2394888"/>
            <a:ext cx="5667148"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F50"/>
                </a:solidFill>
                <a:latin typeface="Segoe UI"/>
                <a:cs typeface="Segoe UI" pitchFamily="34" charset="0"/>
              </a:rPr>
              <a:t>Open and Hybrid</a:t>
            </a:r>
          </a:p>
          <a:p>
            <a:pPr defTabSz="932330">
              <a:defRPr/>
            </a:pPr>
            <a:r>
              <a:rPr lang="en-US" sz="1632" kern="0" dirty="0">
                <a:gradFill>
                  <a:gsLst>
                    <a:gs pos="82143">
                      <a:srgbClr val="505050"/>
                    </a:gs>
                    <a:gs pos="50000">
                      <a:srgbClr val="505050"/>
                    </a:gs>
                  </a:gsLst>
                  <a:lin ang="5400000" scaled="0"/>
                </a:gradFill>
                <a:latin typeface="Segoe UI"/>
              </a:rPr>
              <a:t>Build freely, deploy consistently in the cloud &amp; on-prem</a:t>
            </a:r>
          </a:p>
        </p:txBody>
      </p:sp>
      <p:sp>
        <p:nvSpPr>
          <p:cNvPr id="22" name="Rectangle 21"/>
          <p:cNvSpPr/>
          <p:nvPr/>
        </p:nvSpPr>
        <p:spPr>
          <a:xfrm>
            <a:off x="6768444" y="4744459"/>
            <a:ext cx="4904830"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78D7"/>
                </a:solidFill>
                <a:latin typeface="Segoe UI"/>
                <a:cs typeface="Segoe UI" pitchFamily="34" charset="0"/>
              </a:rPr>
              <a:t>Data-Driven Intelligence</a:t>
            </a:r>
          </a:p>
          <a:p>
            <a:pPr defTabSz="932330">
              <a:defRPr/>
            </a:pPr>
            <a:r>
              <a:rPr lang="en-US" sz="1632" kern="0" dirty="0">
                <a:gradFill>
                  <a:gsLst>
                    <a:gs pos="82143">
                      <a:srgbClr val="505050"/>
                    </a:gs>
                    <a:gs pos="50000">
                      <a:srgbClr val="505050"/>
                    </a:gs>
                  </a:gsLst>
                  <a:lin ang="5400000" scaled="0"/>
                </a:gradFill>
                <a:latin typeface="Segoe UI"/>
              </a:rPr>
              <a:t>Power decisions &amp; apps with insights</a:t>
            </a:r>
          </a:p>
        </p:txBody>
      </p:sp>
      <p:sp>
        <p:nvSpPr>
          <p:cNvPr id="23" name="Rectangle 22"/>
          <p:cNvSpPr/>
          <p:nvPr/>
        </p:nvSpPr>
        <p:spPr>
          <a:xfrm>
            <a:off x="6768445" y="1253986"/>
            <a:ext cx="2799848" cy="1003276"/>
          </a:xfrm>
          <a:prstGeom prst="rect">
            <a:avLst/>
          </a:prstGeom>
        </p:spPr>
        <p:txBody>
          <a:bodyPr wrap="square" lIns="182854" tIns="146283" rIns="182854" bIns="146283">
            <a:spAutoFit/>
          </a:bodyPr>
          <a:lstStyle/>
          <a:p>
            <a:pPr defTabSz="932330">
              <a:defRPr/>
            </a:pPr>
            <a:r>
              <a:rPr lang="en-US" sz="2800" b="1" kern="0" dirty="0">
                <a:ln w="3175">
                  <a:noFill/>
                </a:ln>
                <a:solidFill>
                  <a:srgbClr val="00BCF3"/>
                </a:solidFill>
                <a:latin typeface="Segoe UI"/>
                <a:cs typeface="Segoe UI" pitchFamily="34" charset="0"/>
              </a:rPr>
              <a:t>Trust</a:t>
            </a:r>
          </a:p>
          <a:p>
            <a:pPr defTabSz="932330">
              <a:defRPr/>
            </a:pPr>
            <a:r>
              <a:rPr lang="en-US" sz="1632" kern="0" dirty="0">
                <a:gradFill>
                  <a:gsLst>
                    <a:gs pos="82143">
                      <a:srgbClr val="505050"/>
                    </a:gs>
                    <a:gs pos="50000">
                      <a:srgbClr val="505050"/>
                    </a:gs>
                  </a:gsLst>
                  <a:lin ang="5400000" scaled="0"/>
                </a:gradFill>
                <a:latin typeface="Segoe UI"/>
              </a:rPr>
              <a:t>Protect your business</a:t>
            </a:r>
          </a:p>
        </p:txBody>
      </p:sp>
      <p:sp>
        <p:nvSpPr>
          <p:cNvPr id="24" name="Rectangle 23"/>
          <p:cNvSpPr/>
          <p:nvPr/>
        </p:nvSpPr>
        <p:spPr>
          <a:xfrm>
            <a:off x="6768444" y="3538667"/>
            <a:ext cx="5463889"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88F"/>
                </a:solidFill>
                <a:latin typeface="Segoe UI"/>
                <a:cs typeface="Segoe UI" pitchFamily="34" charset="0"/>
              </a:rPr>
              <a:t>App Innovation</a:t>
            </a:r>
          </a:p>
          <a:p>
            <a:pPr defTabSz="932330">
              <a:defRPr/>
            </a:pPr>
            <a:r>
              <a:rPr lang="en-US" sz="1632" kern="0" dirty="0">
                <a:gradFill>
                  <a:gsLst>
                    <a:gs pos="82143">
                      <a:srgbClr val="505050"/>
                    </a:gs>
                    <a:gs pos="50000">
                      <a:srgbClr val="505050"/>
                    </a:gs>
                  </a:gsLst>
                  <a:lin ang="5400000" scaled="0"/>
                </a:gradFill>
                <a:latin typeface="Segoe UI"/>
              </a:rPr>
              <a:t>Accelerate innovation with the cloud</a:t>
            </a:r>
          </a:p>
        </p:txBody>
      </p:sp>
      <p:sp>
        <p:nvSpPr>
          <p:cNvPr id="29" name="Freeform 6"/>
          <p:cNvSpPr>
            <a:spLocks noEditPoints="1"/>
          </p:cNvSpPr>
          <p:nvPr/>
        </p:nvSpPr>
        <p:spPr bwMode="auto">
          <a:xfrm>
            <a:off x="6176529" y="4994029"/>
            <a:ext cx="324194" cy="540082"/>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64B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7"/>
          <p:cNvSpPr>
            <a:spLocks noEditPoints="1"/>
          </p:cNvSpPr>
          <p:nvPr/>
        </p:nvSpPr>
        <p:spPr bwMode="auto">
          <a:xfrm>
            <a:off x="6143567" y="1556215"/>
            <a:ext cx="390117" cy="4296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Freeform 8"/>
          <p:cNvSpPr>
            <a:spLocks noEditPoints="1"/>
          </p:cNvSpPr>
          <p:nvPr/>
        </p:nvSpPr>
        <p:spPr bwMode="auto">
          <a:xfrm>
            <a:off x="6068007" y="3847587"/>
            <a:ext cx="541238" cy="370179"/>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Freeform 5"/>
          <p:cNvSpPr>
            <a:spLocks/>
          </p:cNvSpPr>
          <p:nvPr/>
        </p:nvSpPr>
        <p:spPr bwMode="auto">
          <a:xfrm>
            <a:off x="6094793" y="2644890"/>
            <a:ext cx="487665" cy="50327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28936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400"/>
                                        <p:tgtEl>
                                          <p:spTgt spid="25"/>
                                        </p:tgtEl>
                                      </p:cBhvr>
                                    </p:animEffect>
                                  </p:childTnLst>
                                </p:cTn>
                              </p:par>
                              <p:par>
                                <p:cTn id="8" presetID="42" presetClass="path" presetSubtype="0" accel="50000" decel="50000" fill="hold" grpId="1" nodeType="withEffect">
                                  <p:stCondLst>
                                    <p:cond delay="0"/>
                                  </p:stCondLst>
                                  <p:childTnLst>
                                    <p:animMotion origin="layout" path="M -4.44218E-6 3.33182E-6 L -4.44218E-6 0.17975 " pathEditMode="relative" rAng="0" ptsTypes="AA">
                                      <p:cBhvr>
                                        <p:cTn id="9" dur="800" spd="-100000" fill="hold"/>
                                        <p:tgtEl>
                                          <p:spTgt spid="25"/>
                                        </p:tgtEl>
                                        <p:attrNameLst>
                                          <p:attrName>ppt_x</p:attrName>
                                          <p:attrName>ppt_y</p:attrName>
                                        </p:attrNameLst>
                                      </p:cBhvr>
                                      <p:rCtr x="0" y="8988"/>
                                    </p:animMotion>
                                  </p:childTnLst>
                                </p:cTn>
                              </p:par>
                              <p:par>
                                <p:cTn id="10" presetID="2" presetClass="entr" presetSubtype="8"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0-#ppt_w/2"/>
                                          </p:val>
                                        </p:tav>
                                        <p:tav tm="100000">
                                          <p:val>
                                            <p:strVal val="#ppt_x"/>
                                          </p:val>
                                        </p:tav>
                                      </p:tavLst>
                                    </p:anim>
                                    <p:anim calcmode="lin" valueType="num">
                                      <p:cBhvr additive="base">
                                        <p:cTn id="13" dur="500" fill="hold"/>
                                        <p:tgtEl>
                                          <p:spTgt spid="21"/>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500"/>
                                        <p:tgtEl>
                                          <p:spTgt spid="14"/>
                                        </p:tgtEl>
                                      </p:cBhvr>
                                    </p:animEffect>
                                  </p:childTnLst>
                                </p:cTn>
                              </p:par>
                              <p:par>
                                <p:cTn id="18" presetID="22" presetClass="entr" presetSubtype="8" fill="hold"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nodeType="withEffect">
                                  <p:stCondLst>
                                    <p:cond delay="0"/>
                                  </p:stCondLst>
                                  <p:childTnLst>
                                    <p:set>
                                      <p:cBhvr>
                                        <p:cTn id="34" dur="1" fill="hold">
                                          <p:stCondLst>
                                            <p:cond delay="0"/>
                                          </p:stCondLst>
                                        </p:cTn>
                                        <p:tgtEl>
                                          <p:spTgt spid="23">
                                            <p:txEl>
                                              <p:pRg st="0" end="0"/>
                                            </p:txEl>
                                          </p:spTgt>
                                        </p:tgtEl>
                                        <p:attrNameLst>
                                          <p:attrName>style.visibility</p:attrName>
                                        </p:attrNameLst>
                                      </p:cBhvr>
                                      <p:to>
                                        <p:strVal val="visible"/>
                                      </p:to>
                                    </p:set>
                                    <p:animEffect transition="in" filter="fade">
                                      <p:cBhvr>
                                        <p:cTn id="35" dur="500"/>
                                        <p:tgtEl>
                                          <p:spTgt spid="23">
                                            <p:txEl>
                                              <p:pRg st="0" end="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3">
                                            <p:txEl>
                                              <p:pRg st="1" end="1"/>
                                            </p:txEl>
                                          </p:spTgt>
                                        </p:tgtEl>
                                        <p:attrNameLst>
                                          <p:attrName>style.visibility</p:attrName>
                                        </p:attrNameLst>
                                      </p:cBhvr>
                                      <p:to>
                                        <p:strVal val="visible"/>
                                      </p:to>
                                    </p:set>
                                    <p:animEffect transition="in" filter="fade">
                                      <p:cBhvr>
                                        <p:cTn id="38" dur="500"/>
                                        <p:tgtEl>
                                          <p:spTgt spid="2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p:bldP spid="25" grpId="1"/>
      <p:bldP spid="20" grpId="0"/>
      <p:bldP spid="22" grpId="0"/>
      <p:bldP spid="23" grpId="0"/>
      <p:bldP spid="2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883" y="496"/>
            <a:ext cx="12434711" cy="1587786"/>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itle 1"/>
          <p:cNvSpPr txBox="1">
            <a:spLocks/>
          </p:cNvSpPr>
          <p:nvPr/>
        </p:nvSpPr>
        <p:spPr>
          <a:xfrm>
            <a:off x="275481" y="295731"/>
            <a:ext cx="11887878" cy="917444"/>
          </a:xfrm>
          <a:prstGeom prst="rect">
            <a:avLst/>
          </a:prstGeom>
        </p:spPr>
        <p:txBody>
          <a:bodyPr vert="horz" wrap="square" lIns="149217" tIns="93260" rIns="149217" bIns="93260" rtlCol="0" anchor="t">
            <a:noAutofit/>
          </a:bodyPr>
          <a:lstStyle>
            <a:lvl1pPr lvl="0" defTabSz="914192">
              <a:lnSpc>
                <a:spcPct val="90000"/>
              </a:lnSpc>
              <a:spcBef>
                <a:spcPct val="0"/>
              </a:spcBef>
              <a:buNone/>
              <a:defRPr lang="en-US" sz="4400" b="0" cap="none" spc="-100" baseline="0" dirty="0" smtClean="0">
                <a:ln w="3175">
                  <a:noFill/>
                </a:ln>
                <a:gradFill>
                  <a:gsLst>
                    <a:gs pos="1250">
                      <a:schemeClr val="bg1"/>
                    </a:gs>
                    <a:gs pos="100000">
                      <a:schemeClr val="bg1"/>
                    </a:gs>
                  </a:gsLst>
                  <a:lin ang="5400000" scaled="0"/>
                </a:gradFill>
                <a:effectLst/>
                <a:latin typeface="+mj-lt"/>
                <a:cs typeface="Segoe UI" pitchFamily="34" charset="0"/>
              </a:defRPr>
            </a:lvl1pPr>
          </a:lstStyle>
          <a:p>
            <a:pPr defTabSz="932384"/>
            <a:r>
              <a:rPr lang="en-US" sz="4488" spc="-102">
                <a:gradFill>
                  <a:gsLst>
                    <a:gs pos="1250">
                      <a:srgbClr val="FFFFFF"/>
                    </a:gs>
                    <a:gs pos="100000">
                      <a:srgbClr val="FFFFFF"/>
                    </a:gs>
                  </a:gsLst>
                  <a:lin ang="5400000" scaled="0"/>
                </a:gradFill>
                <a:latin typeface="Segoe UI Light"/>
              </a:rPr>
              <a:t>Build freely, deploy consistently</a:t>
            </a:r>
          </a:p>
        </p:txBody>
      </p:sp>
      <p:sp>
        <p:nvSpPr>
          <p:cNvPr id="11" name="Rectangle 10"/>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a:ln w="3175">
                  <a:noFill/>
                </a:ln>
                <a:solidFill>
                  <a:srgbClr val="FFFFFF"/>
                </a:solidFill>
                <a:latin typeface="Segoe UI"/>
                <a:cs typeface="Segoe UI" pitchFamily="34" charset="0"/>
              </a:rPr>
              <a:t>Open and Hybrid</a:t>
            </a:r>
          </a:p>
        </p:txBody>
      </p:sp>
      <p:sp>
        <p:nvSpPr>
          <p:cNvPr id="13" name="Text Placeholder 3"/>
          <p:cNvSpPr txBox="1">
            <a:spLocks/>
          </p:cNvSpPr>
          <p:nvPr/>
        </p:nvSpPr>
        <p:spPr>
          <a:xfrm>
            <a:off x="747487" y="4460607"/>
            <a:ext cx="2928293"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defRPr/>
            </a:pPr>
            <a:r>
              <a:rPr lang="en-US" sz="3264">
                <a:solidFill>
                  <a:srgbClr val="001F50"/>
                </a:solidFill>
                <a:latin typeface="Segoe UI Light"/>
              </a:rPr>
              <a:t>Build and run open source solutions</a:t>
            </a:r>
          </a:p>
        </p:txBody>
      </p:sp>
      <p:sp>
        <p:nvSpPr>
          <p:cNvPr id="14" name="Text Placeholder 3"/>
          <p:cNvSpPr txBox="1">
            <a:spLocks/>
          </p:cNvSpPr>
          <p:nvPr/>
        </p:nvSpPr>
        <p:spPr>
          <a:xfrm>
            <a:off x="8346430" y="4460606"/>
            <a:ext cx="3509275"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defRPr/>
            </a:pPr>
            <a:r>
              <a:rPr lang="en-US" sz="3264">
                <a:ln w="3175">
                  <a:noFill/>
                </a:ln>
                <a:solidFill>
                  <a:srgbClr val="001F50"/>
                </a:solidFill>
                <a:latin typeface="Segoe UI Light"/>
                <a:cs typeface="Segoe UI" pitchFamily="34" charset="0"/>
              </a:rPr>
              <a:t>Deploy </a:t>
            </a:r>
            <a:br>
              <a:rPr lang="en-US" sz="3264">
                <a:ln w="3175">
                  <a:noFill/>
                </a:ln>
                <a:solidFill>
                  <a:srgbClr val="001F50"/>
                </a:solidFill>
                <a:latin typeface="Segoe UI Light"/>
                <a:cs typeface="Segoe UI" pitchFamily="34" charset="0"/>
              </a:rPr>
            </a:br>
            <a:r>
              <a:rPr lang="en-US" sz="3264">
                <a:ln w="3175">
                  <a:noFill/>
                </a:ln>
                <a:solidFill>
                  <a:srgbClr val="001F50"/>
                </a:solidFill>
                <a:latin typeface="Segoe UI Light"/>
                <a:cs typeface="Segoe UI" pitchFamily="34" charset="0"/>
              </a:rPr>
              <a:t>the cloud </a:t>
            </a:r>
            <a:br>
              <a:rPr lang="en-US" sz="3264">
                <a:ln w="3175">
                  <a:noFill/>
                </a:ln>
                <a:solidFill>
                  <a:srgbClr val="001F50"/>
                </a:solidFill>
                <a:latin typeface="Segoe UI Light"/>
                <a:cs typeface="Segoe UI" pitchFamily="34" charset="0"/>
              </a:rPr>
            </a:br>
            <a:r>
              <a:rPr lang="en-US" sz="3264">
                <a:ln w="3175">
                  <a:noFill/>
                </a:ln>
                <a:solidFill>
                  <a:srgbClr val="001F50"/>
                </a:solidFill>
                <a:latin typeface="Segoe UI Light"/>
                <a:cs typeface="Segoe UI" pitchFamily="34" charset="0"/>
              </a:rPr>
              <a:t>on-premises</a:t>
            </a:r>
          </a:p>
        </p:txBody>
      </p:sp>
      <p:sp>
        <p:nvSpPr>
          <p:cNvPr id="15" name="Text Placeholder 3"/>
          <p:cNvSpPr txBox="1">
            <a:spLocks/>
          </p:cNvSpPr>
          <p:nvPr/>
        </p:nvSpPr>
        <p:spPr>
          <a:xfrm>
            <a:off x="4693051" y="4460608"/>
            <a:ext cx="3058751" cy="2029084"/>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defRPr/>
            </a:pPr>
            <a:r>
              <a:rPr lang="en-US" sz="3264">
                <a:solidFill>
                  <a:srgbClr val="001F50"/>
                </a:solidFill>
                <a:latin typeface="Segoe UI Light"/>
              </a:rPr>
              <a:t>Consistent identity, apps, data &amp; management</a:t>
            </a:r>
          </a:p>
        </p:txBody>
      </p:sp>
      <p:cxnSp>
        <p:nvCxnSpPr>
          <p:cNvPr id="20" name="Straight Connector 19"/>
          <p:cNvCxnSpPr/>
          <p:nvPr/>
        </p:nvCxnSpPr>
        <p:spPr>
          <a:xfrm>
            <a:off x="987289" y="4214650"/>
            <a:ext cx="10450936" cy="0"/>
          </a:xfrm>
          <a:prstGeom prst="line">
            <a:avLst/>
          </a:prstGeom>
          <a:ln w="31750">
            <a:solidFill>
              <a:srgbClr val="00284B"/>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a:stretch>
            <a:fillRect/>
          </a:stretch>
        </p:blipFill>
        <p:spPr>
          <a:xfrm>
            <a:off x="1758285" y="2722226"/>
            <a:ext cx="906698" cy="919651"/>
          </a:xfrm>
          <a:prstGeom prst="rect">
            <a:avLst/>
          </a:prstGeom>
        </p:spPr>
      </p:pic>
      <p:pic>
        <p:nvPicPr>
          <p:cNvPr id="23" name="Picture 22"/>
          <p:cNvPicPr>
            <a:picLocks noChangeAspect="1"/>
          </p:cNvPicPr>
          <p:nvPr/>
        </p:nvPicPr>
        <p:blipFill>
          <a:blip r:embed="rId4"/>
          <a:stretch>
            <a:fillRect/>
          </a:stretch>
        </p:blipFill>
        <p:spPr>
          <a:xfrm>
            <a:off x="5830836" y="2793467"/>
            <a:ext cx="777169" cy="777169"/>
          </a:xfrm>
          <a:prstGeom prst="rect">
            <a:avLst/>
          </a:prstGeom>
        </p:spPr>
      </p:pic>
      <p:pic>
        <p:nvPicPr>
          <p:cNvPr id="24" name="Picture 23"/>
          <p:cNvPicPr>
            <a:picLocks noChangeAspect="1"/>
          </p:cNvPicPr>
          <p:nvPr/>
        </p:nvPicPr>
        <p:blipFill>
          <a:blip r:embed="rId5"/>
          <a:stretch>
            <a:fillRect/>
          </a:stretch>
        </p:blipFill>
        <p:spPr>
          <a:xfrm>
            <a:off x="9621812" y="2793466"/>
            <a:ext cx="958509" cy="919651"/>
          </a:xfrm>
          <a:prstGeom prst="rect">
            <a:avLst/>
          </a:prstGeom>
        </p:spPr>
      </p:pic>
      <p:pic>
        <p:nvPicPr>
          <p:cNvPr id="26" name="Picture 25"/>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l="-17851" t="-9952" b="-7173"/>
          <a:stretch/>
        </p:blipFill>
        <p:spPr>
          <a:xfrm>
            <a:off x="10585576" y="152271"/>
            <a:ext cx="948500" cy="848498"/>
          </a:xfrm>
          <a:prstGeom prst="rect">
            <a:avLst/>
          </a:prstGeom>
        </p:spPr>
      </p:pic>
    </p:spTree>
    <p:extLst>
      <p:ext uri="{BB962C8B-B14F-4D97-AF65-F5344CB8AC3E}">
        <p14:creationId xmlns:p14="http://schemas.microsoft.com/office/powerpoint/2010/main" val="66796519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42" presetClass="path" presetSubtype="0" decel="100000" fill="hold" grpId="1" nodeType="withEffect">
                                  <p:stCondLst>
                                    <p:cond delay="0"/>
                                  </p:stCondLst>
                                  <p:childTnLst>
                                    <p:animMotion origin="layout" path="M -4.375E-6 7.40741E-7 L -4.375E-6 0.0912 " pathEditMode="relative" rAng="0" ptsTypes="AA">
                                      <p:cBhvr>
                                        <p:cTn id="13" dur="600" spd="-100000" fill="hold"/>
                                        <p:tgtEl>
                                          <p:spTgt spid="13"/>
                                        </p:tgtEl>
                                        <p:attrNameLst>
                                          <p:attrName>ppt_x</p:attrName>
                                          <p:attrName>ppt_y</p:attrName>
                                        </p:attrNameLst>
                                      </p:cBhvr>
                                      <p:rCtr x="0" y="4560"/>
                                    </p:animMotion>
                                  </p:childTnLst>
                                </p:cTn>
                              </p:par>
                              <p:par>
                                <p:cTn id="14" presetID="10" presetClass="entr" presetSubtype="0" fill="hold" grpId="0"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42" presetClass="path" presetSubtype="0" decel="100000" fill="hold" grpId="1" nodeType="withEffect">
                                  <p:stCondLst>
                                    <p:cond delay="100"/>
                                  </p:stCondLst>
                                  <p:childTnLst>
                                    <p:animMotion origin="layout" path="M -4.16667E-7 -2.59259E-6 L -4.16667E-7 0.09121 " pathEditMode="relative" rAng="0" ptsTypes="AA">
                                      <p:cBhvr>
                                        <p:cTn id="18" dur="600" spd="-100000" fill="hold"/>
                                        <p:tgtEl>
                                          <p:spTgt spid="15"/>
                                        </p:tgtEl>
                                        <p:attrNameLst>
                                          <p:attrName>ppt_x</p:attrName>
                                          <p:attrName>ppt_y</p:attrName>
                                        </p:attrNameLst>
                                      </p:cBhvr>
                                      <p:rCtr x="0" y="4560"/>
                                    </p:animMotion>
                                  </p:childTnLst>
                                </p:cTn>
                              </p:par>
                              <p:par>
                                <p:cTn id="19" presetID="10" presetClass="entr" presetSubtype="0" fill="hold" grpId="0" nodeType="withEffect">
                                  <p:stCondLst>
                                    <p:cond delay="2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200"/>
                                  </p:stCondLst>
                                  <p:childTnLst>
                                    <p:animMotion origin="layout" path="M 4.16667E-7 3.33333E-6 L 4.16667E-7 0.0912 " pathEditMode="relative" rAng="0" ptsTypes="AA">
                                      <p:cBhvr>
                                        <p:cTn id="23" dur="600" spd="-100000" fill="hold"/>
                                        <p:tgtEl>
                                          <p:spTgt spid="14"/>
                                        </p:tgtEl>
                                        <p:attrNameLst>
                                          <p:attrName>ppt_x</p:attrName>
                                          <p:attrName>ppt_y</p:attrName>
                                        </p:attrNameLst>
                                      </p:cBhvr>
                                      <p:rCtr x="0" y="4560"/>
                                    </p:animMotion>
                                  </p:childTnLst>
                                </p:cTn>
                              </p:par>
                              <p:par>
                                <p:cTn id="24" presetID="23" presetClass="entr" presetSubtype="272" fill="hold" nodeType="withEffect">
                                  <p:stCondLst>
                                    <p:cond delay="200"/>
                                  </p:stCondLst>
                                  <p:childTnLst>
                                    <p:set>
                                      <p:cBhvr>
                                        <p:cTn id="25" dur="1" fill="hold">
                                          <p:stCondLst>
                                            <p:cond delay="0"/>
                                          </p:stCondLst>
                                        </p:cTn>
                                        <p:tgtEl>
                                          <p:spTgt spid="19"/>
                                        </p:tgtEl>
                                        <p:attrNameLst>
                                          <p:attrName>style.visibility</p:attrName>
                                        </p:attrNameLst>
                                      </p:cBhvr>
                                      <p:to>
                                        <p:strVal val="visible"/>
                                      </p:to>
                                    </p:set>
                                    <p:anim calcmode="lin" valueType="num">
                                      <p:cBhvr>
                                        <p:cTn id="26" dur="500" fill="hold"/>
                                        <p:tgtEl>
                                          <p:spTgt spid="19"/>
                                        </p:tgtEl>
                                        <p:attrNameLst>
                                          <p:attrName>ppt_w</p:attrName>
                                        </p:attrNameLst>
                                      </p:cBhvr>
                                      <p:tavLst>
                                        <p:tav tm="0">
                                          <p:val>
                                            <p:strVal val="2/3*#ppt_w"/>
                                          </p:val>
                                        </p:tav>
                                        <p:tav tm="100000">
                                          <p:val>
                                            <p:strVal val="#ppt_w"/>
                                          </p:val>
                                        </p:tav>
                                      </p:tavLst>
                                    </p:anim>
                                    <p:anim calcmode="lin" valueType="num">
                                      <p:cBhvr>
                                        <p:cTn id="27" dur="500" fill="hold"/>
                                        <p:tgtEl>
                                          <p:spTgt spid="19"/>
                                        </p:tgtEl>
                                        <p:attrNameLst>
                                          <p:attrName>ppt_h</p:attrName>
                                        </p:attrNameLst>
                                      </p:cBhvr>
                                      <p:tavLst>
                                        <p:tav tm="0">
                                          <p:val>
                                            <p:strVal val="2/3*#ppt_h"/>
                                          </p:val>
                                        </p:tav>
                                        <p:tav tm="100000">
                                          <p:val>
                                            <p:strVal val="#ppt_h"/>
                                          </p:val>
                                        </p:tav>
                                      </p:tavLst>
                                    </p:anim>
                                  </p:childTnLst>
                                </p:cTn>
                              </p:par>
                              <p:par>
                                <p:cTn id="28" presetID="23" presetClass="entr" presetSubtype="272" fill="hold" nodeType="withEffect">
                                  <p:stCondLst>
                                    <p:cond delay="200"/>
                                  </p:stCondLst>
                                  <p:childTnLst>
                                    <p:set>
                                      <p:cBhvr>
                                        <p:cTn id="29" dur="1" fill="hold">
                                          <p:stCondLst>
                                            <p:cond delay="0"/>
                                          </p:stCondLst>
                                        </p:cTn>
                                        <p:tgtEl>
                                          <p:spTgt spid="23"/>
                                        </p:tgtEl>
                                        <p:attrNameLst>
                                          <p:attrName>style.visibility</p:attrName>
                                        </p:attrNameLst>
                                      </p:cBhvr>
                                      <p:to>
                                        <p:strVal val="visible"/>
                                      </p:to>
                                    </p:set>
                                    <p:anim calcmode="lin" valueType="num">
                                      <p:cBhvr>
                                        <p:cTn id="30" dur="500" fill="hold"/>
                                        <p:tgtEl>
                                          <p:spTgt spid="23"/>
                                        </p:tgtEl>
                                        <p:attrNameLst>
                                          <p:attrName>ppt_w</p:attrName>
                                        </p:attrNameLst>
                                      </p:cBhvr>
                                      <p:tavLst>
                                        <p:tav tm="0">
                                          <p:val>
                                            <p:strVal val="2/3*#ppt_w"/>
                                          </p:val>
                                        </p:tav>
                                        <p:tav tm="100000">
                                          <p:val>
                                            <p:strVal val="#ppt_w"/>
                                          </p:val>
                                        </p:tav>
                                      </p:tavLst>
                                    </p:anim>
                                    <p:anim calcmode="lin" valueType="num">
                                      <p:cBhvr>
                                        <p:cTn id="31" dur="500" fill="hold"/>
                                        <p:tgtEl>
                                          <p:spTgt spid="23"/>
                                        </p:tgtEl>
                                        <p:attrNameLst>
                                          <p:attrName>ppt_h</p:attrName>
                                        </p:attrNameLst>
                                      </p:cBhvr>
                                      <p:tavLst>
                                        <p:tav tm="0">
                                          <p:val>
                                            <p:strVal val="2/3*#ppt_h"/>
                                          </p:val>
                                        </p:tav>
                                        <p:tav tm="100000">
                                          <p:val>
                                            <p:strVal val="#ppt_h"/>
                                          </p:val>
                                        </p:tav>
                                      </p:tavLst>
                                    </p:anim>
                                  </p:childTnLst>
                                </p:cTn>
                              </p:par>
                              <p:par>
                                <p:cTn id="32" presetID="23" presetClass="entr" presetSubtype="272" fill="hold" nodeType="withEffect">
                                  <p:stCondLst>
                                    <p:cond delay="200"/>
                                  </p:stCondLst>
                                  <p:childTnLst>
                                    <p:set>
                                      <p:cBhvr>
                                        <p:cTn id="33" dur="1" fill="hold">
                                          <p:stCondLst>
                                            <p:cond delay="0"/>
                                          </p:stCondLst>
                                        </p:cTn>
                                        <p:tgtEl>
                                          <p:spTgt spid="24"/>
                                        </p:tgtEl>
                                        <p:attrNameLst>
                                          <p:attrName>style.visibility</p:attrName>
                                        </p:attrNameLst>
                                      </p:cBhvr>
                                      <p:to>
                                        <p:strVal val="visible"/>
                                      </p:to>
                                    </p:set>
                                    <p:anim calcmode="lin" valueType="num">
                                      <p:cBhvr>
                                        <p:cTn id="34" dur="500" fill="hold"/>
                                        <p:tgtEl>
                                          <p:spTgt spid="24"/>
                                        </p:tgtEl>
                                        <p:attrNameLst>
                                          <p:attrName>ppt_w</p:attrName>
                                        </p:attrNameLst>
                                      </p:cBhvr>
                                      <p:tavLst>
                                        <p:tav tm="0">
                                          <p:val>
                                            <p:strVal val="2/3*#ppt_w"/>
                                          </p:val>
                                        </p:tav>
                                        <p:tav tm="100000">
                                          <p:val>
                                            <p:strVal val="#ppt_w"/>
                                          </p:val>
                                        </p:tav>
                                      </p:tavLst>
                                    </p:anim>
                                    <p:anim calcmode="lin" valueType="num">
                                      <p:cBhvr>
                                        <p:cTn id="35" dur="500" fill="hold"/>
                                        <p:tgtEl>
                                          <p:spTgt spid="24"/>
                                        </p:tgtEl>
                                        <p:attrNameLst>
                                          <p:attrName>ppt_h</p:attrName>
                                        </p:attrNameLst>
                                      </p:cBhvr>
                                      <p:tavLst>
                                        <p:tav tm="0">
                                          <p:val>
                                            <p:strVal val="2/3*#ppt_h"/>
                                          </p:val>
                                        </p:tav>
                                        <p:tav tm="100000">
                                          <p:val>
                                            <p:strVal val="#ppt_h"/>
                                          </p:val>
                                        </p:tav>
                                      </p:tavLst>
                                    </p:anim>
                                  </p:childTnLst>
                                </p:cTn>
                              </p:par>
                              <p:par>
                                <p:cTn id="36" presetID="16" presetClass="entr" presetSubtype="37" fill="hold" nodeType="withEffect">
                                  <p:stCondLst>
                                    <p:cond delay="200"/>
                                  </p:stCondLst>
                                  <p:childTnLst>
                                    <p:set>
                                      <p:cBhvr>
                                        <p:cTn id="37" dur="1" fill="hold">
                                          <p:stCondLst>
                                            <p:cond delay="0"/>
                                          </p:stCondLst>
                                        </p:cTn>
                                        <p:tgtEl>
                                          <p:spTgt spid="20"/>
                                        </p:tgtEl>
                                        <p:attrNameLst>
                                          <p:attrName>style.visibility</p:attrName>
                                        </p:attrNameLst>
                                      </p:cBhvr>
                                      <p:to>
                                        <p:strVal val="visible"/>
                                      </p:to>
                                    </p:set>
                                    <p:animEffect transition="in" filter="barn(outVertical)">
                                      <p:cBhvr>
                                        <p:cTn id="3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3" grpId="0"/>
      <p:bldP spid="13" grpId="1"/>
      <p:bldP spid="14" grpId="0"/>
      <p:bldP spid="14" grpId="1"/>
      <p:bldP spid="15" grpId="0"/>
      <p:bldP spid="15"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bwMode="auto">
          <a:xfrm>
            <a:off x="883" y="496"/>
            <a:ext cx="12434711" cy="1587786"/>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81" y="295275"/>
            <a:ext cx="8512767" cy="917575"/>
          </a:xfrm>
        </p:spPr>
        <p:txBody>
          <a:bodyPr/>
          <a:lstStyle/>
          <a:p>
            <a:pPr lvl="0">
              <a:defRPr/>
            </a:pPr>
            <a:r>
              <a:rPr lang="en-US" sz="4488">
                <a:gradFill>
                  <a:gsLst>
                    <a:gs pos="1250">
                      <a:schemeClr val="bg1"/>
                    </a:gs>
                    <a:gs pos="100000">
                      <a:schemeClr val="bg1"/>
                    </a:gs>
                  </a:gsLst>
                  <a:lin ang="5400000" scaled="0"/>
                </a:gradFill>
              </a:rPr>
              <a:t>Build and run open source solutions</a:t>
            </a:r>
          </a:p>
        </p:txBody>
      </p:sp>
      <p:cxnSp>
        <p:nvCxnSpPr>
          <p:cNvPr id="4" name="Straight Connector 3"/>
          <p:cNvCxnSpPr/>
          <p:nvPr/>
        </p:nvCxnSpPr>
        <p:spPr>
          <a:xfrm>
            <a:off x="520987" y="3299980"/>
            <a:ext cx="11370587" cy="0"/>
          </a:xfrm>
          <a:prstGeom prst="line">
            <a:avLst/>
          </a:prstGeom>
          <a:ln w="31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520987" y="3985982"/>
            <a:ext cx="11370587" cy="0"/>
          </a:xfrm>
          <a:prstGeom prst="line">
            <a:avLst/>
          </a:prstGeom>
          <a:ln w="31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520987" y="4671983"/>
            <a:ext cx="11370587" cy="0"/>
          </a:xfrm>
          <a:prstGeom prst="line">
            <a:avLst/>
          </a:prstGeom>
          <a:ln w="31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20987" y="5357984"/>
            <a:ext cx="11370587" cy="0"/>
          </a:xfrm>
          <a:prstGeom prst="line">
            <a:avLst/>
          </a:prstGeom>
          <a:ln w="31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20987" y="6043986"/>
            <a:ext cx="11370587" cy="0"/>
          </a:xfrm>
          <a:prstGeom prst="line">
            <a:avLst/>
          </a:prstGeom>
          <a:ln w="31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l="-17851" t="-9952" b="-7173"/>
          <a:stretch/>
        </p:blipFill>
        <p:spPr>
          <a:xfrm>
            <a:off x="10585576" y="152271"/>
            <a:ext cx="948500" cy="848498"/>
          </a:xfrm>
          <a:prstGeom prst="rect">
            <a:avLst/>
          </a:prstGeom>
        </p:spPr>
      </p:pic>
      <p:grpSp>
        <p:nvGrpSpPr>
          <p:cNvPr id="5" name="Group 4"/>
          <p:cNvGrpSpPr/>
          <p:nvPr/>
        </p:nvGrpSpPr>
        <p:grpSpPr>
          <a:xfrm>
            <a:off x="275480" y="1883902"/>
            <a:ext cx="11975189" cy="5028486"/>
            <a:chOff x="269238" y="1847131"/>
            <a:chExt cx="11741447" cy="4930336"/>
          </a:xfrm>
        </p:grpSpPr>
        <p:grpSp>
          <p:nvGrpSpPr>
            <p:cNvPr id="29" name="Group 28"/>
            <p:cNvGrpSpPr/>
            <p:nvPr/>
          </p:nvGrpSpPr>
          <p:grpSpPr>
            <a:xfrm>
              <a:off x="269238" y="1847131"/>
              <a:ext cx="11741447" cy="4930336"/>
              <a:chOff x="274636" y="1776051"/>
              <a:chExt cx="11976887" cy="5029200"/>
            </a:xfrm>
          </p:grpSpPr>
          <p:sp>
            <p:nvSpPr>
              <p:cNvPr id="9" name="Rectangle 8"/>
              <p:cNvSpPr/>
              <p:nvPr/>
            </p:nvSpPr>
            <p:spPr bwMode="auto">
              <a:xfrm>
                <a:off x="364323" y="1776051"/>
                <a:ext cx="11887200" cy="5029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597">
                  <a:lnSpc>
                    <a:spcPct val="90000"/>
                  </a:lnSpc>
                  <a:defRPr/>
                </a:pPr>
                <a:endParaRPr lang="en-US" sz="2652">
                  <a:solidFill>
                    <a:srgbClr val="505050"/>
                  </a:solidFill>
                  <a:latin typeface="Segoe UI"/>
                </a:endParaRP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b="1">
                      <a:gradFill>
                        <a:gsLst>
                          <a:gs pos="40179">
                            <a:srgbClr val="505050"/>
                          </a:gs>
                          <a:gs pos="88000">
                            <a:srgbClr val="505050"/>
                          </a:gs>
                        </a:gsLst>
                        <a:lin ang="5400000" scaled="0"/>
                      </a:gradFill>
                      <a:latin typeface="Segoe UI"/>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8763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pic>
              <p:nvPicPr>
                <p:cNvPr id="83" name="Picture 8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37801" y="6210401"/>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6"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4906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072290" y="614279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54590" y="6160711"/>
                  <a:ext cx="298609" cy="350617"/>
                </a:xfrm>
                <a:prstGeom prst="rect">
                  <a:avLst/>
                </a:prstGeom>
              </p:spPr>
            </p:pic>
            <p:pic>
              <p:nvPicPr>
                <p:cNvPr id="86" name="Picture 8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19177" y="6225578"/>
                  <a:ext cx="924183" cy="220882"/>
                </a:xfrm>
                <a:prstGeom prst="rect">
                  <a:avLst/>
                </a:prstGeom>
              </p:spPr>
            </p:pic>
            <p:pic>
              <p:nvPicPr>
                <p:cNvPr id="1046" name="Picture 22" descr="https://www.freebsd.org/logo/logo-full.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109339" y="6212135"/>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075897" y="6252809"/>
                  <a:ext cx="712715" cy="166420"/>
                </a:xfrm>
                <a:prstGeom prst="rect">
                  <a:avLst/>
                </a:prstGeom>
              </p:spPr>
            </p:pic>
          </p:grpSp>
          <p:grpSp>
            <p:nvGrpSpPr>
              <p:cNvPr id="11" name="Group 10"/>
              <p:cNvGrpSpPr/>
              <p:nvPr/>
            </p:nvGrpSpPr>
            <p:grpSpPr>
              <a:xfrm>
                <a:off x="274637" y="5313003"/>
                <a:ext cx="7675122" cy="624694"/>
                <a:chOff x="274637" y="5313003"/>
                <a:chExt cx="7675122" cy="624694"/>
              </a:xfrm>
            </p:grpSpPr>
            <p:sp>
              <p:nvSpPr>
                <p:cNvPr id="16" name="Rectangle 15"/>
                <p:cNvSpPr/>
                <p:nvPr/>
              </p:nvSpPr>
              <p:spPr bwMode="auto">
                <a:xfrm>
                  <a:off x="274637" y="531300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b="1">
                      <a:gradFill>
                        <a:gsLst>
                          <a:gs pos="40179">
                            <a:srgbClr val="505050"/>
                          </a:gs>
                          <a:gs pos="88000">
                            <a:srgbClr val="505050"/>
                          </a:gs>
                        </a:gsLst>
                        <a:lin ang="5400000" scaled="0"/>
                      </a:gradFill>
                      <a:latin typeface="Segoe UI"/>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63230"/>
                  <a:ext cx="436271" cy="332771"/>
                </a:xfrm>
                <a:prstGeom prst="rect">
                  <a:avLst/>
                </a:prstGeom>
              </p:spPr>
            </p:pic>
            <p:pic>
              <p:nvPicPr>
                <p:cNvPr id="18" name="Picture 1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94748" y="5434713"/>
                  <a:ext cx="955011" cy="369786"/>
                </a:xfrm>
                <a:prstGeom prst="rect">
                  <a:avLst/>
                </a:prstGeom>
              </p:spPr>
            </p:pic>
            <p:pic>
              <p:nvPicPr>
                <p:cNvPr id="99" name="Picture 9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65649" y="5500889"/>
                  <a:ext cx="924183" cy="220882"/>
                </a:xfrm>
                <a:prstGeom prst="rect">
                  <a:avLst/>
                </a:prstGeom>
              </p:spPr>
            </p:pic>
            <p:sp>
              <p:nvSpPr>
                <p:cNvPr id="101" name="Freeform 16"/>
                <p:cNvSpPr>
                  <a:spLocks noChangeAspect="1" noEditPoints="1"/>
                </p:cNvSpPr>
                <p:nvPr/>
              </p:nvSpPr>
              <p:spPr bwMode="auto">
                <a:xfrm>
                  <a:off x="5777322" y="5471516"/>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grpSp>
          <p:grpSp>
            <p:nvGrpSpPr>
              <p:cNvPr id="24" name="Group 23"/>
              <p:cNvGrpSpPr/>
              <p:nvPr/>
            </p:nvGrpSpPr>
            <p:grpSpPr>
              <a:xfrm>
                <a:off x="274637" y="4611971"/>
                <a:ext cx="8588403" cy="624694"/>
                <a:chOff x="274637" y="4611971"/>
                <a:chExt cx="8588403" cy="624694"/>
              </a:xfrm>
            </p:grpSpPr>
            <p:sp>
              <p:nvSpPr>
                <p:cNvPr id="15" name="Rectangle 14"/>
                <p:cNvSpPr/>
                <p:nvPr/>
              </p:nvSpPr>
              <p:spPr bwMode="auto">
                <a:xfrm>
                  <a:off x="274637" y="4611971"/>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b="1">
                      <a:gradFill>
                        <a:gsLst>
                          <a:gs pos="40179">
                            <a:srgbClr val="505050"/>
                          </a:gs>
                          <a:gs pos="88000">
                            <a:srgbClr val="505050"/>
                          </a:gs>
                        </a:gsLst>
                        <a:lin ang="5400000" scaled="0"/>
                      </a:gradFill>
                      <a:latin typeface="Segoe UI"/>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214311" y="4825106"/>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l="29373" r="29373"/>
                <a:stretch/>
              </p:blipFill>
              <p:spPr bwMode="auto">
                <a:xfrm>
                  <a:off x="3514434" y="4781882"/>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102573" y="4855982"/>
                  <a:ext cx="688675" cy="200116"/>
                </a:xfrm>
                <a:prstGeom prst="rect">
                  <a:avLst/>
                </a:prstGeom>
              </p:spPr>
            </p:pic>
            <p:pic>
              <p:nvPicPr>
                <p:cNvPr id="93" name="Picture 9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960263" y="4808622"/>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7091129" y="4814914"/>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8436465" y="4793357"/>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b="1">
                      <a:gradFill>
                        <a:gsLst>
                          <a:gs pos="40179">
                            <a:srgbClr val="505050"/>
                          </a:gs>
                          <a:gs pos="88000">
                            <a:srgbClr val="505050"/>
                          </a:gs>
                        </a:gsLst>
                        <a:lin ang="5400000" scaled="0"/>
                      </a:gradFill>
                      <a:latin typeface="Segoe UI"/>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84208"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5345349"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40919"/>
                <a:chOff x="274637" y="3230634"/>
                <a:chExt cx="7787509" cy="640919"/>
              </a:xfrm>
            </p:grpSpPr>
            <p:sp>
              <p:nvSpPr>
                <p:cNvPr id="13" name="Rectangle 12"/>
                <p:cNvSpPr/>
                <p:nvPr/>
              </p:nvSpPr>
              <p:spPr bwMode="auto">
                <a:xfrm>
                  <a:off x="274637" y="3230634"/>
                  <a:ext cx="3017552" cy="640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b="1">
                      <a:gradFill>
                        <a:gsLst>
                          <a:gs pos="40179">
                            <a:srgbClr val="505050"/>
                          </a:gs>
                          <a:gs pos="88000">
                            <a:srgbClr val="505050"/>
                          </a:gs>
                        </a:gsLst>
                        <a:lin ang="5400000" scaled="0"/>
                      </a:gradFill>
                      <a:latin typeface="Segoe UI"/>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5909293" y="3379861"/>
                  <a:ext cx="333262" cy="337706"/>
                </a:xfrm>
                <a:prstGeom prst="rect">
                  <a:avLst/>
                </a:prstGeom>
              </p:spPr>
            </p:pic>
            <p:pic>
              <p:nvPicPr>
                <p:cNvPr id="41" name="Picture 40"/>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4188873"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6623808"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50329"/>
                <a:ext cx="8401995" cy="624694"/>
                <a:chOff x="274637" y="2550329"/>
                <a:chExt cx="8401995" cy="624694"/>
              </a:xfrm>
            </p:grpSpPr>
            <p:sp>
              <p:nvSpPr>
                <p:cNvPr id="12" name="Rectangle 11"/>
                <p:cNvSpPr/>
                <p:nvPr/>
              </p:nvSpPr>
              <p:spPr bwMode="auto">
                <a:xfrm>
                  <a:off x="274637" y="2550329"/>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b="1">
                      <a:gradFill>
                        <a:gsLst>
                          <a:gs pos="40179">
                            <a:srgbClr val="505050"/>
                          </a:gs>
                          <a:gs pos="88000">
                            <a:srgbClr val="505050"/>
                          </a:gs>
                        </a:gsLst>
                        <a:lin ang="5400000" scaled="0"/>
                      </a:gradFill>
                      <a:latin typeface="Segoe UI"/>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32075"/>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pic>
              <p:nvPicPr>
                <p:cNvPr id="1031" name="Picture 7" descr="http://yuaner.tw/slide-make-a-website/images/drupal_logo.png"/>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5050425" y="2636741"/>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5828122" y="2709128"/>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p:cNvPicPr>
                  <a:picLocks noChangeAspect="1" noChangeArrowheads="1"/>
                </p:cNvPicPr>
                <p:nvPr/>
              </p:nvPicPr>
              <p:blipFill>
                <a:blip r:embed="rId33" cstate="screen">
                  <a:extLst>
                    <a:ext uri="{28A0092B-C50C-407E-A947-70E740481C1C}">
                      <a14:useLocalDpi xmlns:a14="http://schemas.microsoft.com/office/drawing/2010/main"/>
                    </a:ext>
                  </a:extLst>
                </a:blip>
                <a:stretch>
                  <a:fillRect/>
                </a:stretch>
              </p:blipFill>
              <p:spPr bwMode="auto">
                <a:xfrm>
                  <a:off x="7454859" y="2823061"/>
                  <a:ext cx="1221773" cy="161746"/>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3" name="Picture 2"/>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8174268" y="5335825"/>
              <a:ext cx="627341" cy="537721"/>
            </a:xfrm>
            <a:prstGeom prst="rect">
              <a:avLst/>
            </a:prstGeom>
          </p:spPr>
        </p:pic>
      </p:grpSp>
      <p:sp>
        <p:nvSpPr>
          <p:cNvPr id="69" name="Rectangle 68"/>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a:ln w="3175">
                  <a:noFill/>
                </a:ln>
                <a:solidFill>
                  <a:srgbClr val="FFFFFF"/>
                </a:solidFill>
                <a:latin typeface="Segoe UI"/>
                <a:cs typeface="Segoe UI" pitchFamily="34" charset="0"/>
              </a:rPr>
              <a:t>Open and Hybrid</a:t>
            </a:r>
          </a:p>
        </p:txBody>
      </p:sp>
    </p:spTree>
    <p:extLst>
      <p:ext uri="{BB962C8B-B14F-4D97-AF65-F5344CB8AC3E}">
        <p14:creationId xmlns:p14="http://schemas.microsoft.com/office/powerpoint/2010/main" val="201772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6" presetClass="entr" presetSubtype="37"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outVertical)">
                                      <p:cBhvr>
                                        <p:cTn id="10" dur="500"/>
                                        <p:tgtEl>
                                          <p:spTgt spid="4"/>
                                        </p:tgtEl>
                                      </p:cBhvr>
                                    </p:animEffect>
                                  </p:childTnLst>
                                </p:cTn>
                              </p:par>
                              <p:par>
                                <p:cTn id="11" presetID="16" presetClass="entr" presetSubtype="37"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barn(outVertical)">
                                      <p:cBhvr>
                                        <p:cTn id="13" dur="500"/>
                                        <p:tgtEl>
                                          <p:spTgt spid="65"/>
                                        </p:tgtEl>
                                      </p:cBhvr>
                                    </p:animEffect>
                                  </p:childTnLst>
                                </p:cTn>
                              </p:par>
                              <p:par>
                                <p:cTn id="14" presetID="16" presetClass="entr" presetSubtype="37" fill="hold"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barn(outVertical)">
                                      <p:cBhvr>
                                        <p:cTn id="16" dur="500"/>
                                        <p:tgtEl>
                                          <p:spTgt spid="66"/>
                                        </p:tgtEl>
                                      </p:cBhvr>
                                    </p:animEffect>
                                  </p:childTnLst>
                                </p:cTn>
                              </p:par>
                              <p:par>
                                <p:cTn id="17" presetID="16" presetClass="entr" presetSubtype="37" fill="hold" nodeType="withEffect">
                                  <p:stCondLst>
                                    <p:cond delay="0"/>
                                  </p:stCondLst>
                                  <p:childTnLst>
                                    <p:set>
                                      <p:cBhvr>
                                        <p:cTn id="18" dur="1" fill="hold">
                                          <p:stCondLst>
                                            <p:cond delay="0"/>
                                          </p:stCondLst>
                                        </p:cTn>
                                        <p:tgtEl>
                                          <p:spTgt spid="67"/>
                                        </p:tgtEl>
                                        <p:attrNameLst>
                                          <p:attrName>style.visibility</p:attrName>
                                        </p:attrNameLst>
                                      </p:cBhvr>
                                      <p:to>
                                        <p:strVal val="visible"/>
                                      </p:to>
                                    </p:set>
                                    <p:animEffect transition="in" filter="barn(outVertical)">
                                      <p:cBhvr>
                                        <p:cTn id="19" dur="500"/>
                                        <p:tgtEl>
                                          <p:spTgt spid="67"/>
                                        </p:tgtEl>
                                      </p:cBhvr>
                                    </p:animEffect>
                                  </p:childTnLst>
                                </p:cTn>
                              </p:par>
                              <p:par>
                                <p:cTn id="20" presetID="16" presetClass="entr" presetSubtype="37" fill="hold" nodeType="with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barn(outVertical)">
                                      <p:cBhvr>
                                        <p:cTn id="2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4" name="Straight Arrow Connector 153"/>
          <p:cNvCxnSpPr/>
          <p:nvPr/>
        </p:nvCxnSpPr>
        <p:spPr>
          <a:xfrm flipV="1">
            <a:off x="11096851" y="3195538"/>
            <a:ext cx="0" cy="2189789"/>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a:off x="3342987" y="3236682"/>
            <a:ext cx="11496" cy="2093785"/>
          </a:xfrm>
          <a:prstGeom prst="straightConnector1">
            <a:avLst/>
          </a:prstGeom>
          <a:ln w="381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flipV="1">
            <a:off x="5902797" y="3213824"/>
            <a:ext cx="11773" cy="2171502"/>
          </a:xfrm>
          <a:prstGeom prst="straightConnector1">
            <a:avLst/>
          </a:prstGeom>
          <a:ln w="381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8545907" y="3195538"/>
            <a:ext cx="0" cy="2189789"/>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882" y="3652696"/>
            <a:ext cx="12434711" cy="132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bwMode="auto">
          <a:xfrm>
            <a:off x="882" y="-47146"/>
            <a:ext cx="12434711" cy="1587786"/>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itle 1"/>
          <p:cNvSpPr txBox="1">
            <a:spLocks/>
          </p:cNvSpPr>
          <p:nvPr/>
        </p:nvSpPr>
        <p:spPr>
          <a:xfrm>
            <a:off x="55810" y="271893"/>
            <a:ext cx="11114716" cy="917575"/>
          </a:xfrm>
          <a:prstGeom prst="rect">
            <a:avLst/>
          </a:prstGeom>
        </p:spPr>
        <p:txBody>
          <a:bodyPr vert="horz" wrap="square" lIns="149217" tIns="93260" rIns="149217" bIns="9326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defRPr/>
            </a:pPr>
            <a:endParaRPr lang="en-US" sz="4488" spc="-102" dirty="0">
              <a:gradFill>
                <a:gsLst>
                  <a:gs pos="1250">
                    <a:srgbClr val="FFFFFF"/>
                  </a:gs>
                  <a:gs pos="100000">
                    <a:srgbClr val="FFFFFF"/>
                  </a:gs>
                </a:gsLst>
                <a:lin ang="5400000" scaled="0"/>
              </a:gradFill>
              <a:latin typeface="Segoe UI Light"/>
            </a:endParaRPr>
          </a:p>
        </p:txBody>
      </p:sp>
      <p:sp>
        <p:nvSpPr>
          <p:cNvPr id="48" name="Cylinder 19"/>
          <p:cNvSpPr/>
          <p:nvPr/>
        </p:nvSpPr>
        <p:spPr bwMode="auto">
          <a:xfrm>
            <a:off x="8259260" y="5956775"/>
            <a:ext cx="617609" cy="641348"/>
          </a:xfrm>
          <a:prstGeom prst="can">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9" name="Group 48"/>
          <p:cNvGrpSpPr>
            <a:grpSpLocks noChangeAspect="1"/>
          </p:cNvGrpSpPr>
          <p:nvPr/>
        </p:nvGrpSpPr>
        <p:grpSpPr>
          <a:xfrm>
            <a:off x="3133531" y="6011634"/>
            <a:ext cx="441904" cy="584968"/>
            <a:chOff x="2989197" y="3117304"/>
            <a:chExt cx="172645" cy="220603"/>
          </a:xfrm>
          <a:noFill/>
        </p:grpSpPr>
        <p:sp>
          <p:nvSpPr>
            <p:cNvPr id="50" name="Oval 5"/>
            <p:cNvSpPr>
              <a:spLocks noChangeArrowheads="1"/>
            </p:cNvSpPr>
            <p:nvPr/>
          </p:nvSpPr>
          <p:spPr bwMode="auto">
            <a:xfrm>
              <a:off x="3008379" y="3117304"/>
              <a:ext cx="134280" cy="134280"/>
            </a:xfrm>
            <a:prstGeom prst="ellipse">
              <a:avLst/>
            </a:pr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defTabSz="913522">
                <a:defRPr/>
              </a:pPr>
              <a:endParaRPr lang="en-US" kern="0" dirty="0">
                <a:solidFill>
                  <a:sysClr val="windowText" lastClr="000000"/>
                </a:solidFill>
                <a:latin typeface="Segoe UI"/>
              </a:endParaRPr>
            </a:p>
          </p:txBody>
        </p:sp>
        <p:sp>
          <p:nvSpPr>
            <p:cNvPr id="51" name="Freeform 6"/>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defTabSz="913522">
                <a:defRPr/>
              </a:pPr>
              <a:endParaRPr lang="en-US" kern="0" dirty="0">
                <a:solidFill>
                  <a:sysClr val="windowText" lastClr="000000"/>
                </a:solidFill>
                <a:latin typeface="Segoe UI"/>
              </a:endParaRPr>
            </a:p>
          </p:txBody>
        </p:sp>
      </p:grpSp>
      <p:grpSp>
        <p:nvGrpSpPr>
          <p:cNvPr id="52" name="Group 51"/>
          <p:cNvGrpSpPr/>
          <p:nvPr/>
        </p:nvGrpSpPr>
        <p:grpSpPr>
          <a:xfrm>
            <a:off x="3134881" y="1933570"/>
            <a:ext cx="439202" cy="581389"/>
            <a:chOff x="2989197" y="3117304"/>
            <a:chExt cx="172645" cy="220603"/>
          </a:xfrm>
          <a:noFill/>
        </p:grpSpPr>
        <p:sp>
          <p:nvSpPr>
            <p:cNvPr id="53" name="Oval 5"/>
            <p:cNvSpPr>
              <a:spLocks noChangeArrowheads="1"/>
            </p:cNvSpPr>
            <p:nvPr/>
          </p:nvSpPr>
          <p:spPr bwMode="auto">
            <a:xfrm>
              <a:off x="3008379" y="3117304"/>
              <a:ext cx="134280" cy="134280"/>
            </a:xfrm>
            <a:prstGeom prst="ellipse">
              <a:avLst/>
            </a:pr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defTabSz="913522">
                <a:defRPr/>
              </a:pPr>
              <a:endParaRPr lang="en-US" kern="0" dirty="0">
                <a:solidFill>
                  <a:sysClr val="windowText" lastClr="000000"/>
                </a:solidFill>
                <a:latin typeface="Segoe UI"/>
              </a:endParaRPr>
            </a:p>
          </p:txBody>
        </p:sp>
        <p:sp>
          <p:nvSpPr>
            <p:cNvPr id="54" name="Freeform 6"/>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defTabSz="913522">
                <a:defRPr/>
              </a:pPr>
              <a:endParaRPr lang="en-US" kern="0" dirty="0">
                <a:solidFill>
                  <a:sysClr val="windowText" lastClr="000000"/>
                </a:solidFill>
                <a:latin typeface="Segoe UI"/>
              </a:endParaRPr>
            </a:p>
          </p:txBody>
        </p:sp>
      </p:grpSp>
      <p:sp>
        <p:nvSpPr>
          <p:cNvPr id="57" name="Rectangle 56"/>
          <p:cNvSpPr/>
          <p:nvPr/>
        </p:nvSpPr>
        <p:spPr>
          <a:xfrm>
            <a:off x="2487824" y="2601231"/>
            <a:ext cx="1733317" cy="542399"/>
          </a:xfrm>
          <a:prstGeom prst="rect">
            <a:avLst/>
          </a:prstGeom>
        </p:spPr>
        <p:txBody>
          <a:bodyPr wrap="square">
            <a:spAutoFit/>
          </a:bodyPr>
          <a:lstStyle/>
          <a:p>
            <a:pPr algn="ctr" defTabSz="932205">
              <a:defRPr/>
            </a:pPr>
            <a:r>
              <a:rPr lang="en-US" sz="1428" b="1" dirty="0">
                <a:solidFill>
                  <a:srgbClr val="0078D7"/>
                </a:solidFill>
                <a:latin typeface="Segoe UI"/>
                <a:ea typeface="Segoe UI" pitchFamily="34" charset="0"/>
                <a:cs typeface="Segoe UI" pitchFamily="34" charset="0"/>
              </a:rPr>
              <a:t>Azure Active Directory</a:t>
            </a:r>
            <a:endParaRPr lang="en-US" sz="1428" b="1" dirty="0">
              <a:solidFill>
                <a:srgbClr val="0078D7"/>
              </a:solidFill>
              <a:latin typeface="Segoe UI"/>
            </a:endParaRPr>
          </a:p>
        </p:txBody>
      </p:sp>
      <p:sp>
        <p:nvSpPr>
          <p:cNvPr id="58" name="Rectangle 57"/>
          <p:cNvSpPr/>
          <p:nvPr/>
        </p:nvSpPr>
        <p:spPr>
          <a:xfrm>
            <a:off x="7701407" y="5385326"/>
            <a:ext cx="1733317" cy="318286"/>
          </a:xfrm>
          <a:prstGeom prst="rect">
            <a:avLst/>
          </a:prstGeom>
        </p:spPr>
        <p:txBody>
          <a:bodyPr wrap="square">
            <a:spAutoFit/>
          </a:bodyPr>
          <a:lstStyle/>
          <a:p>
            <a:pPr algn="ctr" defTabSz="932205">
              <a:defRPr/>
            </a:pPr>
            <a:r>
              <a:rPr lang="en-US" sz="1428" b="1" dirty="0">
                <a:solidFill>
                  <a:srgbClr val="505050"/>
                </a:solidFill>
                <a:latin typeface="Segoe UI"/>
                <a:ea typeface="Segoe UI" pitchFamily="34" charset="0"/>
                <a:cs typeface="Segoe UI" pitchFamily="34" charset="0"/>
              </a:rPr>
              <a:t>SQL Server</a:t>
            </a:r>
            <a:endParaRPr lang="en-US" sz="1428" b="1" dirty="0">
              <a:solidFill>
                <a:srgbClr val="505050"/>
              </a:solidFill>
              <a:latin typeface="Segoe UI"/>
            </a:endParaRPr>
          </a:p>
        </p:txBody>
      </p:sp>
      <p:sp>
        <p:nvSpPr>
          <p:cNvPr id="59" name="Rectangle 58"/>
          <p:cNvSpPr/>
          <p:nvPr/>
        </p:nvSpPr>
        <p:spPr>
          <a:xfrm>
            <a:off x="2487824" y="5385326"/>
            <a:ext cx="1733317" cy="542399"/>
          </a:xfrm>
          <a:prstGeom prst="rect">
            <a:avLst/>
          </a:prstGeom>
        </p:spPr>
        <p:txBody>
          <a:bodyPr wrap="square">
            <a:spAutoFit/>
          </a:bodyPr>
          <a:lstStyle/>
          <a:p>
            <a:pPr algn="ctr" defTabSz="932205">
              <a:defRPr/>
            </a:pPr>
            <a:r>
              <a:rPr lang="en-US" sz="1428" b="1" dirty="0">
                <a:solidFill>
                  <a:srgbClr val="505050"/>
                </a:solidFill>
                <a:latin typeface="Segoe UI"/>
                <a:ea typeface="Segoe UI" pitchFamily="34" charset="0"/>
                <a:cs typeface="Segoe UI" pitchFamily="34" charset="0"/>
              </a:rPr>
              <a:t>Active </a:t>
            </a:r>
          </a:p>
          <a:p>
            <a:pPr algn="ctr" defTabSz="932205">
              <a:defRPr/>
            </a:pPr>
            <a:r>
              <a:rPr lang="en-US" sz="1428" b="1" dirty="0">
                <a:solidFill>
                  <a:srgbClr val="505050"/>
                </a:solidFill>
                <a:latin typeface="Segoe UI"/>
                <a:ea typeface="Segoe UI" pitchFamily="34" charset="0"/>
                <a:cs typeface="Segoe UI" pitchFamily="34" charset="0"/>
              </a:rPr>
              <a:t>Directory</a:t>
            </a:r>
            <a:endParaRPr lang="en-US" sz="1428" b="1" dirty="0">
              <a:solidFill>
                <a:srgbClr val="505050"/>
              </a:solidFill>
              <a:latin typeface="Segoe UI"/>
            </a:endParaRPr>
          </a:p>
        </p:txBody>
      </p:sp>
      <p:sp>
        <p:nvSpPr>
          <p:cNvPr id="60" name="Rectangle 59"/>
          <p:cNvSpPr/>
          <p:nvPr/>
        </p:nvSpPr>
        <p:spPr>
          <a:xfrm>
            <a:off x="7701407" y="2601231"/>
            <a:ext cx="1733317" cy="542399"/>
          </a:xfrm>
          <a:prstGeom prst="rect">
            <a:avLst/>
          </a:prstGeom>
        </p:spPr>
        <p:txBody>
          <a:bodyPr wrap="square">
            <a:spAutoFit/>
          </a:bodyPr>
          <a:lstStyle/>
          <a:p>
            <a:pPr algn="ctr" defTabSz="932205">
              <a:defRPr/>
            </a:pPr>
            <a:r>
              <a:rPr lang="en-US" sz="1428" b="1" dirty="0">
                <a:solidFill>
                  <a:srgbClr val="0078D7"/>
                </a:solidFill>
                <a:latin typeface="Segoe UI"/>
                <a:ea typeface="Segoe UI" pitchFamily="34" charset="0"/>
                <a:cs typeface="Segoe UI" pitchFamily="34" charset="0"/>
              </a:rPr>
              <a:t>Azure </a:t>
            </a:r>
          </a:p>
          <a:p>
            <a:pPr algn="ctr" defTabSz="932205">
              <a:defRPr/>
            </a:pPr>
            <a:r>
              <a:rPr lang="en-US" sz="1428" b="1" dirty="0">
                <a:solidFill>
                  <a:srgbClr val="0078D7"/>
                </a:solidFill>
                <a:latin typeface="Segoe UI"/>
                <a:ea typeface="Segoe UI" pitchFamily="34" charset="0"/>
                <a:cs typeface="Segoe UI" pitchFamily="34" charset="0"/>
              </a:rPr>
              <a:t>data services</a:t>
            </a:r>
            <a:endParaRPr lang="en-US" sz="1428" b="1" dirty="0">
              <a:solidFill>
                <a:srgbClr val="0078D7"/>
              </a:solidFill>
              <a:latin typeface="Segoe UI"/>
            </a:endParaRPr>
          </a:p>
        </p:txBody>
      </p:sp>
      <p:sp>
        <p:nvSpPr>
          <p:cNvPr id="62" name="Freeform 5"/>
          <p:cNvSpPr>
            <a:spLocks noChangeAspect="1"/>
          </p:cNvSpPr>
          <p:nvPr/>
        </p:nvSpPr>
        <p:spPr bwMode="auto">
          <a:xfrm>
            <a:off x="10683994" y="1992117"/>
            <a:ext cx="825715" cy="574014"/>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41275">
            <a:solidFill>
              <a:schemeClr val="tx1"/>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sp>
        <p:nvSpPr>
          <p:cNvPr id="65" name="Rectangle 64"/>
          <p:cNvSpPr/>
          <p:nvPr/>
        </p:nvSpPr>
        <p:spPr>
          <a:xfrm>
            <a:off x="10407439" y="2596849"/>
            <a:ext cx="1378827" cy="542399"/>
          </a:xfrm>
          <a:prstGeom prst="rect">
            <a:avLst/>
          </a:prstGeom>
        </p:spPr>
        <p:txBody>
          <a:bodyPr wrap="square" anchor="ctr">
            <a:spAutoFit/>
          </a:bodyPr>
          <a:lstStyle/>
          <a:p>
            <a:pPr algn="ctr" defTabSz="932205">
              <a:defRPr/>
            </a:pPr>
            <a:r>
              <a:rPr lang="en-US" sz="1428" b="1" dirty="0">
                <a:solidFill>
                  <a:srgbClr val="0078D7"/>
                </a:solidFill>
                <a:latin typeface="Segoe UI"/>
                <a:ea typeface="Segoe UI" pitchFamily="34" charset="0"/>
                <a:cs typeface="Segoe UI" pitchFamily="34" charset="0"/>
              </a:rPr>
              <a:t>Azure services</a:t>
            </a:r>
          </a:p>
        </p:txBody>
      </p:sp>
      <p:grpSp>
        <p:nvGrpSpPr>
          <p:cNvPr id="22" name="Group 21"/>
          <p:cNvGrpSpPr/>
          <p:nvPr/>
        </p:nvGrpSpPr>
        <p:grpSpPr>
          <a:xfrm>
            <a:off x="10683994" y="5956775"/>
            <a:ext cx="825715" cy="694596"/>
            <a:chOff x="9865150" y="5263483"/>
            <a:chExt cx="809598" cy="681038"/>
          </a:xfrm>
        </p:grpSpPr>
        <p:sp>
          <p:nvSpPr>
            <p:cNvPr id="63" name="Rectangle 62"/>
            <p:cNvSpPr/>
            <p:nvPr/>
          </p:nvSpPr>
          <p:spPr bwMode="auto">
            <a:xfrm>
              <a:off x="9865150" y="5263483"/>
              <a:ext cx="809598" cy="681038"/>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Freeform 5"/>
            <p:cNvSpPr>
              <a:spLocks noChangeAspect="1"/>
            </p:cNvSpPr>
            <p:nvPr/>
          </p:nvSpPr>
          <p:spPr bwMode="auto">
            <a:xfrm>
              <a:off x="9982331" y="5394217"/>
              <a:ext cx="575238" cy="399889"/>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41275">
              <a:solidFill>
                <a:schemeClr val="tx1"/>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69" name="Rectangle 68"/>
          <p:cNvSpPr/>
          <p:nvPr/>
        </p:nvSpPr>
        <p:spPr>
          <a:xfrm>
            <a:off x="10074678" y="5385326"/>
            <a:ext cx="2044348" cy="318286"/>
          </a:xfrm>
          <a:prstGeom prst="rect">
            <a:avLst/>
          </a:prstGeom>
        </p:spPr>
        <p:txBody>
          <a:bodyPr wrap="square">
            <a:spAutoFit/>
          </a:bodyPr>
          <a:lstStyle/>
          <a:p>
            <a:pPr algn="ctr" defTabSz="932205">
              <a:defRPr/>
            </a:pPr>
            <a:r>
              <a:rPr lang="en-US" sz="1428" b="1" dirty="0">
                <a:solidFill>
                  <a:srgbClr val="505050"/>
                </a:solidFill>
                <a:latin typeface="Segoe UI"/>
                <a:ea typeface="Segoe UI" pitchFamily="34" charset="0"/>
                <a:cs typeface="Segoe UI" pitchFamily="34" charset="0"/>
              </a:rPr>
              <a:t>Azure </a:t>
            </a:r>
            <a:r>
              <a:rPr lang="en-US" sz="1428" b="1" dirty="0">
                <a:solidFill>
                  <a:srgbClr val="505050"/>
                </a:solidFill>
                <a:latin typeface="Segoe UI"/>
                <a:cs typeface="Segoe UI" pitchFamily="34" charset="0"/>
              </a:rPr>
              <a:t>Stack</a:t>
            </a:r>
            <a:endParaRPr lang="en-US" sz="1428" b="1" dirty="0">
              <a:solidFill>
                <a:srgbClr val="505050"/>
              </a:solidFill>
              <a:latin typeface="Segoe UI"/>
            </a:endParaRPr>
          </a:p>
        </p:txBody>
      </p:sp>
      <p:sp>
        <p:nvSpPr>
          <p:cNvPr id="70" name="Rectangle 69"/>
          <p:cNvSpPr/>
          <p:nvPr/>
        </p:nvSpPr>
        <p:spPr>
          <a:xfrm>
            <a:off x="4952864" y="2596849"/>
            <a:ext cx="1978378" cy="542399"/>
          </a:xfrm>
          <a:prstGeom prst="rect">
            <a:avLst/>
          </a:prstGeom>
        </p:spPr>
        <p:txBody>
          <a:bodyPr wrap="square" anchor="ctr">
            <a:spAutoFit/>
          </a:bodyPr>
          <a:lstStyle/>
          <a:p>
            <a:pPr algn="ctr" defTabSz="932205">
              <a:defRPr/>
            </a:pPr>
            <a:r>
              <a:rPr lang="en-US" sz="1428" b="1" dirty="0">
                <a:solidFill>
                  <a:srgbClr val="0078D7"/>
                </a:solidFill>
                <a:latin typeface="Segoe UI"/>
                <a:ea typeface="Segoe UI" pitchFamily="34" charset="0"/>
                <a:cs typeface="Segoe UI" pitchFamily="34" charset="0"/>
              </a:rPr>
              <a:t>Azure management and security</a:t>
            </a:r>
            <a:endParaRPr lang="en-US" sz="1428" b="1" dirty="0">
              <a:solidFill>
                <a:srgbClr val="0078D7"/>
              </a:solidFill>
              <a:latin typeface="Segoe UI"/>
            </a:endParaRPr>
          </a:p>
        </p:txBody>
      </p:sp>
      <p:sp>
        <p:nvSpPr>
          <p:cNvPr id="79" name="Rectangle 78"/>
          <p:cNvSpPr/>
          <p:nvPr/>
        </p:nvSpPr>
        <p:spPr bwMode="auto">
          <a:xfrm>
            <a:off x="2323085" y="3675554"/>
            <a:ext cx="2062795" cy="11964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881" fontAlgn="base">
              <a:lnSpc>
                <a:spcPct val="90000"/>
              </a:lnSpc>
              <a:spcBef>
                <a:spcPct val="0"/>
              </a:spcBef>
              <a:spcAft>
                <a:spcPct val="0"/>
              </a:spcAft>
              <a:defRPr/>
            </a:pPr>
            <a:r>
              <a:rPr lang="en-US" sz="2040" dirty="0">
                <a:solidFill>
                  <a:srgbClr val="001F50"/>
                </a:solidFill>
                <a:latin typeface="Segoe UI Light"/>
              </a:rPr>
              <a:t>Common Identity</a:t>
            </a:r>
          </a:p>
        </p:txBody>
      </p:sp>
      <p:sp>
        <p:nvSpPr>
          <p:cNvPr id="80" name="Rectangle 79"/>
          <p:cNvSpPr/>
          <p:nvPr/>
        </p:nvSpPr>
        <p:spPr bwMode="auto">
          <a:xfrm>
            <a:off x="4889711" y="3675554"/>
            <a:ext cx="2062795" cy="11964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881" fontAlgn="base">
              <a:lnSpc>
                <a:spcPct val="90000"/>
              </a:lnSpc>
              <a:spcBef>
                <a:spcPct val="0"/>
              </a:spcBef>
              <a:spcAft>
                <a:spcPct val="0"/>
              </a:spcAft>
              <a:defRPr/>
            </a:pPr>
            <a:r>
              <a:rPr lang="en-US" sz="2040" dirty="0">
                <a:solidFill>
                  <a:srgbClr val="001F50"/>
                </a:solidFill>
                <a:latin typeface="Segoe UI Light"/>
              </a:rPr>
              <a:t>Integrated Management and Security</a:t>
            </a:r>
          </a:p>
        </p:txBody>
      </p:sp>
      <p:sp>
        <p:nvSpPr>
          <p:cNvPr id="81" name="Rectangle 80"/>
          <p:cNvSpPr/>
          <p:nvPr/>
        </p:nvSpPr>
        <p:spPr bwMode="auto">
          <a:xfrm>
            <a:off x="7522954" y="3675554"/>
            <a:ext cx="2062795" cy="11964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881" fontAlgn="base">
              <a:lnSpc>
                <a:spcPct val="90000"/>
              </a:lnSpc>
              <a:spcBef>
                <a:spcPct val="0"/>
              </a:spcBef>
              <a:spcAft>
                <a:spcPct val="0"/>
              </a:spcAft>
              <a:defRPr/>
            </a:pPr>
            <a:r>
              <a:rPr lang="en-US" sz="2040" dirty="0">
                <a:solidFill>
                  <a:srgbClr val="001F50"/>
                </a:solidFill>
                <a:latin typeface="Segoe UI Light"/>
              </a:rPr>
              <a:t>Consistent Data Platform</a:t>
            </a:r>
          </a:p>
        </p:txBody>
      </p:sp>
      <p:sp>
        <p:nvSpPr>
          <p:cNvPr id="82" name="Rectangle 81"/>
          <p:cNvSpPr/>
          <p:nvPr/>
        </p:nvSpPr>
        <p:spPr bwMode="auto">
          <a:xfrm>
            <a:off x="10079170" y="3675554"/>
            <a:ext cx="2062795" cy="11964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881" fontAlgn="base">
              <a:lnSpc>
                <a:spcPct val="90000"/>
              </a:lnSpc>
              <a:spcBef>
                <a:spcPct val="0"/>
              </a:spcBef>
              <a:spcAft>
                <a:spcPct val="0"/>
              </a:spcAft>
              <a:defRPr/>
            </a:pPr>
            <a:r>
              <a:rPr lang="en-US" sz="2040" dirty="0">
                <a:solidFill>
                  <a:srgbClr val="001F50"/>
                </a:solidFill>
                <a:latin typeface="Segoe UI Light"/>
              </a:rPr>
              <a:t>Unified Development and DevOps</a:t>
            </a:r>
          </a:p>
        </p:txBody>
      </p:sp>
      <p:sp>
        <p:nvSpPr>
          <p:cNvPr id="83" name="Rectangle 82"/>
          <p:cNvSpPr/>
          <p:nvPr/>
        </p:nvSpPr>
        <p:spPr>
          <a:xfrm>
            <a:off x="5100453" y="5385326"/>
            <a:ext cx="1683202" cy="542399"/>
          </a:xfrm>
          <a:prstGeom prst="rect">
            <a:avLst/>
          </a:prstGeom>
        </p:spPr>
        <p:txBody>
          <a:bodyPr wrap="square">
            <a:spAutoFit/>
          </a:bodyPr>
          <a:lstStyle/>
          <a:p>
            <a:pPr algn="ctr" defTabSz="932205">
              <a:defRPr/>
            </a:pPr>
            <a:r>
              <a:rPr lang="en-US" sz="1428" b="1" dirty="0">
                <a:solidFill>
                  <a:srgbClr val="505050"/>
                </a:solidFill>
                <a:latin typeface="Segoe UI"/>
                <a:ea typeface="Segoe UI" pitchFamily="34" charset="0"/>
                <a:cs typeface="Segoe UI" pitchFamily="34" charset="0"/>
              </a:rPr>
              <a:t>On-premises</a:t>
            </a:r>
          </a:p>
          <a:p>
            <a:pPr algn="ctr" defTabSz="932205">
              <a:defRPr/>
            </a:pPr>
            <a:r>
              <a:rPr lang="en-US" sz="1428" b="1" dirty="0">
                <a:solidFill>
                  <a:srgbClr val="505050"/>
                </a:solidFill>
                <a:latin typeface="Segoe UI"/>
                <a:cs typeface="Segoe UI" pitchFamily="34" charset="0"/>
              </a:rPr>
              <a:t>infrastructure</a:t>
            </a:r>
            <a:endParaRPr lang="en-US" sz="1428" b="1" dirty="0">
              <a:solidFill>
                <a:srgbClr val="505050"/>
              </a:solidFill>
              <a:latin typeface="Segoe UI"/>
            </a:endParaRPr>
          </a:p>
        </p:txBody>
      </p:sp>
      <p:grpSp>
        <p:nvGrpSpPr>
          <p:cNvPr id="87" name="Group 86"/>
          <p:cNvGrpSpPr/>
          <p:nvPr/>
        </p:nvGrpSpPr>
        <p:grpSpPr>
          <a:xfrm>
            <a:off x="5596340" y="6011634"/>
            <a:ext cx="772793" cy="575148"/>
            <a:chOff x="4366433" y="5526863"/>
            <a:chExt cx="933709" cy="694909"/>
          </a:xfrm>
        </p:grpSpPr>
        <p:grpSp>
          <p:nvGrpSpPr>
            <p:cNvPr id="88" name="Group 87"/>
            <p:cNvGrpSpPr/>
            <p:nvPr/>
          </p:nvGrpSpPr>
          <p:grpSpPr>
            <a:xfrm>
              <a:off x="4893069" y="5526882"/>
              <a:ext cx="407073" cy="694890"/>
              <a:chOff x="5301814" y="5526882"/>
              <a:chExt cx="407073" cy="694890"/>
            </a:xfrm>
          </p:grpSpPr>
          <p:sp>
            <p:nvSpPr>
              <p:cNvPr id="102" name="Rectangle 101"/>
              <p:cNvSpPr/>
              <p:nvPr/>
            </p:nvSpPr>
            <p:spPr bwMode="auto">
              <a:xfrm>
                <a:off x="5301814" y="5526882"/>
                <a:ext cx="407073" cy="69489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p:cNvCxnSpPr/>
              <p:nvPr/>
            </p:nvCxnSpPr>
            <p:spPr>
              <a:xfrm>
                <a:off x="5301814" y="5653966"/>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5301814" y="5765000"/>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01814" y="5876034"/>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5301814" y="5987068"/>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301814" y="6098102"/>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Oval 107"/>
              <p:cNvSpPr/>
              <p:nvPr/>
            </p:nvSpPr>
            <p:spPr bwMode="auto">
              <a:xfrm>
                <a:off x="5590919" y="5573370"/>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09" name="Oval 108"/>
              <p:cNvSpPr/>
              <p:nvPr/>
            </p:nvSpPr>
            <p:spPr bwMode="auto">
              <a:xfrm>
                <a:off x="5590919" y="5684427"/>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10" name="Oval 109"/>
              <p:cNvSpPr/>
              <p:nvPr/>
            </p:nvSpPr>
            <p:spPr bwMode="auto">
              <a:xfrm>
                <a:off x="5590919" y="5795484"/>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11" name="Oval 110"/>
              <p:cNvSpPr/>
              <p:nvPr/>
            </p:nvSpPr>
            <p:spPr bwMode="auto">
              <a:xfrm>
                <a:off x="5590919" y="5906541"/>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12" name="Oval 111"/>
              <p:cNvSpPr/>
              <p:nvPr/>
            </p:nvSpPr>
            <p:spPr bwMode="auto">
              <a:xfrm>
                <a:off x="5590919" y="601759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13" name="Oval 112"/>
              <p:cNvSpPr/>
              <p:nvPr/>
            </p:nvSpPr>
            <p:spPr bwMode="auto">
              <a:xfrm>
                <a:off x="5590919" y="6128655"/>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grpSp>
        <p:grpSp>
          <p:nvGrpSpPr>
            <p:cNvPr id="89" name="Group 88"/>
            <p:cNvGrpSpPr/>
            <p:nvPr/>
          </p:nvGrpSpPr>
          <p:grpSpPr>
            <a:xfrm>
              <a:off x="4366433" y="5526863"/>
              <a:ext cx="407073" cy="694890"/>
              <a:chOff x="5301814" y="5526882"/>
              <a:chExt cx="407073" cy="694890"/>
            </a:xfrm>
          </p:grpSpPr>
          <p:sp>
            <p:nvSpPr>
              <p:cNvPr id="90" name="Rectangle 89"/>
              <p:cNvSpPr/>
              <p:nvPr/>
            </p:nvSpPr>
            <p:spPr bwMode="auto">
              <a:xfrm>
                <a:off x="5301814" y="5526882"/>
                <a:ext cx="407073" cy="69489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1" name="Straight Connector 90"/>
              <p:cNvCxnSpPr/>
              <p:nvPr/>
            </p:nvCxnSpPr>
            <p:spPr>
              <a:xfrm>
                <a:off x="5301814" y="5653966"/>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5301814" y="5765000"/>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301814" y="5876034"/>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301814" y="5987068"/>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301814" y="6098102"/>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6" name="Oval 95"/>
              <p:cNvSpPr/>
              <p:nvPr/>
            </p:nvSpPr>
            <p:spPr bwMode="auto">
              <a:xfrm>
                <a:off x="5590919" y="5573370"/>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97" name="Oval 96"/>
              <p:cNvSpPr/>
              <p:nvPr/>
            </p:nvSpPr>
            <p:spPr bwMode="auto">
              <a:xfrm>
                <a:off x="5590919" y="5684427"/>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98" name="Oval 97"/>
              <p:cNvSpPr/>
              <p:nvPr/>
            </p:nvSpPr>
            <p:spPr bwMode="auto">
              <a:xfrm>
                <a:off x="5590919" y="5795484"/>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99" name="Oval 98"/>
              <p:cNvSpPr/>
              <p:nvPr/>
            </p:nvSpPr>
            <p:spPr bwMode="auto">
              <a:xfrm>
                <a:off x="5590919" y="5906541"/>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00" name="Oval 99"/>
              <p:cNvSpPr/>
              <p:nvPr/>
            </p:nvSpPr>
            <p:spPr bwMode="auto">
              <a:xfrm>
                <a:off x="5590919" y="601759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sp>
            <p:nvSpPr>
              <p:cNvPr id="101" name="Oval 100"/>
              <p:cNvSpPr/>
              <p:nvPr/>
            </p:nvSpPr>
            <p:spPr bwMode="auto">
              <a:xfrm>
                <a:off x="5590919" y="6128655"/>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solidFill>
                    <a:srgbClr val="FFFFFF"/>
                  </a:solidFill>
                  <a:latin typeface="Segoe UI"/>
                  <a:ea typeface="Segoe UI" pitchFamily="34" charset="0"/>
                  <a:cs typeface="Segoe UI" pitchFamily="34" charset="0"/>
                </a:endParaRPr>
              </a:p>
            </p:txBody>
          </p:sp>
        </p:grpSp>
      </p:grpSp>
      <p:sp>
        <p:nvSpPr>
          <p:cNvPr id="116" name="Cylinder 76"/>
          <p:cNvSpPr/>
          <p:nvPr/>
        </p:nvSpPr>
        <p:spPr bwMode="auto">
          <a:xfrm>
            <a:off x="8259260" y="1927877"/>
            <a:ext cx="617609" cy="641348"/>
          </a:xfrm>
          <a:prstGeom prst="can">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p:nvPr/>
        </p:nvSpPr>
        <p:spPr>
          <a:xfrm>
            <a:off x="390860" y="2528086"/>
            <a:ext cx="1858995" cy="662542"/>
          </a:xfrm>
          <a:prstGeom prst="rect">
            <a:avLst/>
          </a:prstGeom>
        </p:spPr>
        <p:txBody>
          <a:bodyPr wrap="square" anchor="ctr">
            <a:noAutofit/>
          </a:bodyPr>
          <a:lstStyle/>
          <a:p>
            <a:pPr algn="ctr" defTabSz="932597">
              <a:defRPr/>
            </a:pPr>
            <a:r>
              <a:rPr lang="en-US" sz="2856" spc="-102" dirty="0">
                <a:ln w="3175">
                  <a:noFill/>
                </a:ln>
                <a:solidFill>
                  <a:srgbClr val="0078D7"/>
                </a:solidFill>
                <a:latin typeface="Segoe UI Light"/>
                <a:cs typeface="Segoe UI" pitchFamily="34" charset="0"/>
              </a:rPr>
              <a:t>Cloud</a:t>
            </a:r>
          </a:p>
        </p:txBody>
      </p:sp>
      <p:sp>
        <p:nvSpPr>
          <p:cNvPr id="119" name="Rectangle 118"/>
          <p:cNvSpPr/>
          <p:nvPr/>
        </p:nvSpPr>
        <p:spPr>
          <a:xfrm>
            <a:off x="165459" y="5079030"/>
            <a:ext cx="2309797" cy="1074532"/>
          </a:xfrm>
          <a:prstGeom prst="rect">
            <a:avLst/>
          </a:prstGeom>
        </p:spPr>
        <p:txBody>
          <a:bodyPr wrap="square" anchor="ctr">
            <a:noAutofit/>
          </a:bodyPr>
          <a:lstStyle/>
          <a:p>
            <a:pPr algn="ctr" defTabSz="932597">
              <a:defRPr/>
            </a:pPr>
            <a:r>
              <a:rPr lang="en-US" sz="2856" spc="-102" dirty="0">
                <a:ln w="3175">
                  <a:noFill/>
                </a:ln>
                <a:solidFill>
                  <a:srgbClr val="505050"/>
                </a:solidFill>
                <a:latin typeface="Segoe UI Light"/>
                <a:cs typeface="Segoe UI" pitchFamily="34" charset="0"/>
              </a:rPr>
              <a:t>On-Premises</a:t>
            </a:r>
          </a:p>
        </p:txBody>
      </p:sp>
      <p:cxnSp>
        <p:nvCxnSpPr>
          <p:cNvPr id="142" name="Straight Arrow Connector 141"/>
          <p:cNvCxnSpPr/>
          <p:nvPr/>
        </p:nvCxnSpPr>
        <p:spPr>
          <a:xfrm flipH="1">
            <a:off x="882" y="3652696"/>
            <a:ext cx="12434711" cy="0"/>
          </a:xfrm>
          <a:prstGeom prst="straightConnector1">
            <a:avLst/>
          </a:prstGeom>
          <a:ln w="38100">
            <a:solidFill>
              <a:schemeClr val="tx1"/>
            </a:solidFill>
            <a:headEnd type="non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flipH="1">
            <a:off x="882" y="4973884"/>
            <a:ext cx="12434711" cy="0"/>
          </a:xfrm>
          <a:prstGeom prst="straightConnector1">
            <a:avLst/>
          </a:prstGeom>
          <a:ln w="38100">
            <a:solidFill>
              <a:schemeClr val="tx1"/>
            </a:solidFill>
            <a:headEnd type="none" w="med" len="med"/>
            <a:tailEnd type="none" w="sm" len="sm"/>
          </a:ln>
        </p:spPr>
        <p:style>
          <a:lnRef idx="1">
            <a:schemeClr val="accent1"/>
          </a:lnRef>
          <a:fillRef idx="0">
            <a:schemeClr val="accent1"/>
          </a:fillRef>
          <a:effectRef idx="0">
            <a:schemeClr val="accent1"/>
          </a:effectRef>
          <a:fontRef idx="minor">
            <a:schemeClr val="tx1"/>
          </a:fontRef>
        </p:style>
      </p:cxnSp>
      <p:sp>
        <p:nvSpPr>
          <p:cNvPr id="78" name="Freeform 5"/>
          <p:cNvSpPr>
            <a:spLocks noChangeAspect="1"/>
          </p:cNvSpPr>
          <p:nvPr/>
        </p:nvSpPr>
        <p:spPr bwMode="auto">
          <a:xfrm>
            <a:off x="5527927" y="1856262"/>
            <a:ext cx="847241" cy="58897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41275">
            <a:solidFill>
              <a:schemeClr val="tx1"/>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82212" y="1984068"/>
            <a:ext cx="631641" cy="626732"/>
          </a:xfrm>
          <a:prstGeom prst="rect">
            <a:avLst/>
          </a:prstGeom>
        </p:spPr>
      </p:pic>
      <p:sp>
        <p:nvSpPr>
          <p:cNvPr id="68" name="Title 1"/>
          <p:cNvSpPr>
            <a:spLocks noGrp="1"/>
          </p:cNvSpPr>
          <p:nvPr>
            <p:ph type="title"/>
          </p:nvPr>
        </p:nvSpPr>
        <p:spPr>
          <a:xfrm>
            <a:off x="275481" y="295275"/>
            <a:ext cx="10895045" cy="917575"/>
          </a:xfrm>
        </p:spPr>
        <p:txBody>
          <a:bodyPr/>
          <a:lstStyle/>
          <a:p>
            <a:pPr>
              <a:defRPr/>
            </a:pPr>
            <a:r>
              <a:rPr lang="en-US" sz="4284" dirty="0">
                <a:gradFill>
                  <a:gsLst>
                    <a:gs pos="1250">
                      <a:schemeClr val="bg1"/>
                    </a:gs>
                    <a:gs pos="100000">
                      <a:schemeClr val="bg1"/>
                    </a:gs>
                  </a:gsLst>
                  <a:lin ang="5400000" scaled="0"/>
                </a:gradFill>
              </a:rPr>
              <a:t>Consistent identity, apps, data &amp; management</a:t>
            </a:r>
          </a:p>
        </p:txBody>
      </p:sp>
      <p:sp>
        <p:nvSpPr>
          <p:cNvPr id="71" name="Rectangle 70"/>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Open and Hybrid</a:t>
            </a:r>
          </a:p>
        </p:txBody>
      </p:sp>
      <p:pic>
        <p:nvPicPr>
          <p:cNvPr id="72" name="Picture 71"/>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l="-17851" t="-9952" b="-7173"/>
          <a:stretch/>
        </p:blipFill>
        <p:spPr>
          <a:xfrm>
            <a:off x="10585576" y="152271"/>
            <a:ext cx="948500" cy="848498"/>
          </a:xfrm>
          <a:prstGeom prst="rect">
            <a:avLst/>
          </a:prstGeom>
        </p:spPr>
      </p:pic>
    </p:spTree>
    <p:extLst>
      <p:ext uri="{BB962C8B-B14F-4D97-AF65-F5344CB8AC3E}">
        <p14:creationId xmlns:p14="http://schemas.microsoft.com/office/powerpoint/2010/main" val="362109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flipH="1">
            <a:off x="4741615" y="4589994"/>
            <a:ext cx="6699201"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4741615" y="3470870"/>
            <a:ext cx="6699201"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83" y="497"/>
            <a:ext cx="5303094" cy="6993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err="1">
              <a:solidFill>
                <a:srgbClr val="505050"/>
              </a:solidFill>
              <a:latin typeface="Segoe UI"/>
              <a:ea typeface="Segoe UI" pitchFamily="34" charset="0"/>
              <a:cs typeface="Segoe UI" pitchFamily="34" charset="0"/>
            </a:endParaRPr>
          </a:p>
        </p:txBody>
      </p:sp>
      <p:sp>
        <p:nvSpPr>
          <p:cNvPr id="25" name="Title 1"/>
          <p:cNvSpPr txBox="1">
            <a:spLocks/>
          </p:cNvSpPr>
          <p:nvPr/>
        </p:nvSpPr>
        <p:spPr>
          <a:xfrm>
            <a:off x="883" y="2657133"/>
            <a:ext cx="5303094" cy="1709948"/>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5399" spc="-40">
                <a:gradFill>
                  <a:gsLst>
                    <a:gs pos="1250">
                      <a:srgbClr val="FFFFFF"/>
                    </a:gs>
                    <a:gs pos="100000">
                      <a:srgbClr val="FFFFFF"/>
                    </a:gs>
                  </a:gsLst>
                  <a:lin ang="5400000" scaled="0"/>
                </a:gradFill>
                <a:latin typeface="Segoe UI Light"/>
              </a:rPr>
              <a:t>Microsoft </a:t>
            </a:r>
            <a:br>
              <a:rPr lang="en-US" sz="5399" spc="-40">
                <a:gradFill>
                  <a:gsLst>
                    <a:gs pos="1250">
                      <a:srgbClr val="FFFFFF"/>
                    </a:gs>
                    <a:gs pos="100000">
                      <a:srgbClr val="FFFFFF"/>
                    </a:gs>
                  </a:gsLst>
                  <a:lin ang="5400000" scaled="0"/>
                </a:gradFill>
                <a:latin typeface="Segoe UI Light"/>
              </a:rPr>
            </a:br>
            <a:r>
              <a:rPr lang="en-US" sz="5399" spc="-40">
                <a:gradFill>
                  <a:gsLst>
                    <a:gs pos="1250">
                      <a:srgbClr val="FFFFFF"/>
                    </a:gs>
                    <a:gs pos="100000">
                      <a:srgbClr val="FFFFFF"/>
                    </a:gs>
                  </a:gsLst>
                  <a:lin ang="5400000" scaled="0"/>
                </a:gradFill>
                <a:latin typeface="Segoe UI Light"/>
              </a:rPr>
              <a:t>Azure</a:t>
            </a:r>
          </a:p>
        </p:txBody>
      </p:sp>
      <p:sp>
        <p:nvSpPr>
          <p:cNvPr id="20" name="Rectangle 19"/>
          <p:cNvSpPr/>
          <p:nvPr/>
        </p:nvSpPr>
        <p:spPr>
          <a:xfrm>
            <a:off x="6768444" y="2394888"/>
            <a:ext cx="5667148"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F50"/>
                </a:solidFill>
                <a:latin typeface="Segoe UI"/>
                <a:cs typeface="Segoe UI" pitchFamily="34" charset="0"/>
              </a:rPr>
              <a:t>Open and Hybrid</a:t>
            </a:r>
          </a:p>
          <a:p>
            <a:pPr defTabSz="932330">
              <a:defRPr/>
            </a:pPr>
            <a:r>
              <a:rPr lang="en-US" sz="1632" kern="0" dirty="0">
                <a:gradFill>
                  <a:gsLst>
                    <a:gs pos="82143">
                      <a:srgbClr val="505050"/>
                    </a:gs>
                    <a:gs pos="50000">
                      <a:srgbClr val="505050"/>
                    </a:gs>
                  </a:gsLst>
                  <a:lin ang="5400000" scaled="0"/>
                </a:gradFill>
                <a:latin typeface="Segoe UI"/>
              </a:rPr>
              <a:t>Build freely, deploy consistently in the cloud &amp; on-prem</a:t>
            </a:r>
          </a:p>
        </p:txBody>
      </p:sp>
      <p:sp>
        <p:nvSpPr>
          <p:cNvPr id="22" name="Rectangle 21"/>
          <p:cNvSpPr/>
          <p:nvPr/>
        </p:nvSpPr>
        <p:spPr>
          <a:xfrm>
            <a:off x="6768444" y="4744459"/>
            <a:ext cx="4904830"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78D7"/>
                </a:solidFill>
                <a:latin typeface="Segoe UI"/>
                <a:cs typeface="Segoe UI" pitchFamily="34" charset="0"/>
              </a:rPr>
              <a:t>Data-Driven Intelligence</a:t>
            </a:r>
          </a:p>
          <a:p>
            <a:pPr defTabSz="932330">
              <a:defRPr/>
            </a:pPr>
            <a:r>
              <a:rPr lang="en-US" sz="1632" kern="0" dirty="0">
                <a:gradFill>
                  <a:gsLst>
                    <a:gs pos="82143">
                      <a:srgbClr val="505050"/>
                    </a:gs>
                    <a:gs pos="50000">
                      <a:srgbClr val="505050"/>
                    </a:gs>
                  </a:gsLst>
                  <a:lin ang="5400000" scaled="0"/>
                </a:gradFill>
                <a:latin typeface="Segoe UI"/>
              </a:rPr>
              <a:t>Power decisions &amp; apps with insights</a:t>
            </a:r>
          </a:p>
        </p:txBody>
      </p:sp>
      <p:sp>
        <p:nvSpPr>
          <p:cNvPr id="23" name="Rectangle 22"/>
          <p:cNvSpPr/>
          <p:nvPr/>
        </p:nvSpPr>
        <p:spPr>
          <a:xfrm>
            <a:off x="6768445" y="1253986"/>
            <a:ext cx="2799848" cy="1003276"/>
          </a:xfrm>
          <a:prstGeom prst="rect">
            <a:avLst/>
          </a:prstGeom>
        </p:spPr>
        <p:txBody>
          <a:bodyPr wrap="square" lIns="182854" tIns="146283" rIns="182854" bIns="146283">
            <a:spAutoFit/>
          </a:bodyPr>
          <a:lstStyle/>
          <a:p>
            <a:pPr defTabSz="932330">
              <a:defRPr/>
            </a:pPr>
            <a:r>
              <a:rPr lang="en-US" sz="2800" b="1" kern="0" dirty="0">
                <a:ln w="3175">
                  <a:noFill/>
                </a:ln>
                <a:solidFill>
                  <a:srgbClr val="00BCF3"/>
                </a:solidFill>
                <a:latin typeface="Segoe UI"/>
                <a:cs typeface="Segoe UI" pitchFamily="34" charset="0"/>
              </a:rPr>
              <a:t>Trust</a:t>
            </a:r>
          </a:p>
          <a:p>
            <a:pPr defTabSz="932330">
              <a:defRPr/>
            </a:pPr>
            <a:r>
              <a:rPr lang="en-US" sz="1632" kern="0" dirty="0">
                <a:gradFill>
                  <a:gsLst>
                    <a:gs pos="82143">
                      <a:srgbClr val="505050"/>
                    </a:gs>
                    <a:gs pos="50000">
                      <a:srgbClr val="505050"/>
                    </a:gs>
                  </a:gsLst>
                  <a:lin ang="5400000" scaled="0"/>
                </a:gradFill>
                <a:latin typeface="Segoe UI"/>
              </a:rPr>
              <a:t>Protect your business</a:t>
            </a:r>
          </a:p>
        </p:txBody>
      </p:sp>
      <p:sp>
        <p:nvSpPr>
          <p:cNvPr id="24" name="Rectangle 23"/>
          <p:cNvSpPr/>
          <p:nvPr/>
        </p:nvSpPr>
        <p:spPr>
          <a:xfrm>
            <a:off x="6768444" y="3538667"/>
            <a:ext cx="5463889"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88F"/>
                </a:solidFill>
                <a:latin typeface="Segoe UI"/>
                <a:cs typeface="Segoe UI" pitchFamily="34" charset="0"/>
              </a:rPr>
              <a:t>App Innovation</a:t>
            </a:r>
          </a:p>
          <a:p>
            <a:pPr defTabSz="932330">
              <a:defRPr/>
            </a:pPr>
            <a:r>
              <a:rPr lang="en-US" sz="1632" kern="0" dirty="0">
                <a:gradFill>
                  <a:gsLst>
                    <a:gs pos="82143">
                      <a:srgbClr val="505050"/>
                    </a:gs>
                    <a:gs pos="50000">
                      <a:srgbClr val="505050"/>
                    </a:gs>
                  </a:gsLst>
                  <a:lin ang="5400000" scaled="0"/>
                </a:gradFill>
                <a:latin typeface="Segoe UI"/>
              </a:rPr>
              <a:t>Accelerate innovation with the cloud</a:t>
            </a:r>
          </a:p>
        </p:txBody>
      </p:sp>
      <p:sp>
        <p:nvSpPr>
          <p:cNvPr id="29" name="Freeform 6"/>
          <p:cNvSpPr>
            <a:spLocks noEditPoints="1"/>
          </p:cNvSpPr>
          <p:nvPr/>
        </p:nvSpPr>
        <p:spPr bwMode="auto">
          <a:xfrm>
            <a:off x="6176529" y="4994029"/>
            <a:ext cx="324194" cy="540082"/>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64B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7"/>
          <p:cNvSpPr>
            <a:spLocks noEditPoints="1"/>
          </p:cNvSpPr>
          <p:nvPr/>
        </p:nvSpPr>
        <p:spPr bwMode="auto">
          <a:xfrm>
            <a:off x="6143567" y="1556215"/>
            <a:ext cx="390117" cy="4296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Freeform 8"/>
          <p:cNvSpPr>
            <a:spLocks noEditPoints="1"/>
          </p:cNvSpPr>
          <p:nvPr/>
        </p:nvSpPr>
        <p:spPr bwMode="auto">
          <a:xfrm>
            <a:off x="6068007" y="3847587"/>
            <a:ext cx="541238" cy="370179"/>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Freeform 5"/>
          <p:cNvSpPr>
            <a:spLocks/>
          </p:cNvSpPr>
          <p:nvPr/>
        </p:nvSpPr>
        <p:spPr bwMode="auto">
          <a:xfrm>
            <a:off x="6094793" y="2644890"/>
            <a:ext cx="487665" cy="50327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5709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400"/>
                                        <p:tgtEl>
                                          <p:spTgt spid="25"/>
                                        </p:tgtEl>
                                      </p:cBhvr>
                                    </p:animEffect>
                                  </p:childTnLst>
                                </p:cTn>
                              </p:par>
                              <p:par>
                                <p:cTn id="8" presetID="42" presetClass="path" presetSubtype="0" accel="50000" decel="50000" fill="hold" grpId="1" nodeType="withEffect">
                                  <p:stCondLst>
                                    <p:cond delay="0"/>
                                  </p:stCondLst>
                                  <p:childTnLst>
                                    <p:animMotion origin="layout" path="M -4.44218E-6 3.33182E-6 L -4.44218E-6 0.17975 " pathEditMode="relative" rAng="0" ptsTypes="AA">
                                      <p:cBhvr>
                                        <p:cTn id="9" dur="800" spd="-100000" fill="hold"/>
                                        <p:tgtEl>
                                          <p:spTgt spid="25"/>
                                        </p:tgtEl>
                                        <p:attrNameLst>
                                          <p:attrName>ppt_x</p:attrName>
                                          <p:attrName>ppt_y</p:attrName>
                                        </p:attrNameLst>
                                      </p:cBhvr>
                                      <p:rCtr x="0" y="8988"/>
                                    </p:animMotion>
                                  </p:childTnLst>
                                </p:cTn>
                              </p:par>
                              <p:par>
                                <p:cTn id="10" presetID="2" presetClass="entr" presetSubtype="8"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0-#ppt_w/2"/>
                                          </p:val>
                                        </p:tav>
                                        <p:tav tm="100000">
                                          <p:val>
                                            <p:strVal val="#ppt_x"/>
                                          </p:val>
                                        </p:tav>
                                      </p:tavLst>
                                    </p:anim>
                                    <p:anim calcmode="lin" valueType="num">
                                      <p:cBhvr additive="base">
                                        <p:cTn id="13" dur="500" fill="hold"/>
                                        <p:tgtEl>
                                          <p:spTgt spid="21"/>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500"/>
                                        <p:tgtEl>
                                          <p:spTgt spid="14"/>
                                        </p:tgtEl>
                                      </p:cBhvr>
                                    </p:animEffect>
                                  </p:childTnLst>
                                </p:cTn>
                              </p:par>
                              <p:par>
                                <p:cTn id="18" presetID="22" presetClass="entr" presetSubtype="8" fill="hold"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nodeType="withEffect">
                                  <p:stCondLst>
                                    <p:cond delay="0"/>
                                  </p:stCondLst>
                                  <p:childTnLst>
                                    <p:set>
                                      <p:cBhvr>
                                        <p:cTn id="34" dur="1" fill="hold">
                                          <p:stCondLst>
                                            <p:cond delay="0"/>
                                          </p:stCondLst>
                                        </p:cTn>
                                        <p:tgtEl>
                                          <p:spTgt spid="23">
                                            <p:txEl>
                                              <p:pRg st="0" end="0"/>
                                            </p:txEl>
                                          </p:spTgt>
                                        </p:tgtEl>
                                        <p:attrNameLst>
                                          <p:attrName>style.visibility</p:attrName>
                                        </p:attrNameLst>
                                      </p:cBhvr>
                                      <p:to>
                                        <p:strVal val="visible"/>
                                      </p:to>
                                    </p:set>
                                    <p:animEffect transition="in" filter="fade">
                                      <p:cBhvr>
                                        <p:cTn id="35" dur="500"/>
                                        <p:tgtEl>
                                          <p:spTgt spid="23">
                                            <p:txEl>
                                              <p:pRg st="0" end="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3">
                                            <p:txEl>
                                              <p:pRg st="1" end="1"/>
                                            </p:txEl>
                                          </p:spTgt>
                                        </p:tgtEl>
                                        <p:attrNameLst>
                                          <p:attrName>style.visibility</p:attrName>
                                        </p:attrNameLst>
                                      </p:cBhvr>
                                      <p:to>
                                        <p:strVal val="visible"/>
                                      </p:to>
                                    </p:set>
                                    <p:animEffect transition="in" filter="fade">
                                      <p:cBhvr>
                                        <p:cTn id="38" dur="500"/>
                                        <p:tgtEl>
                                          <p:spTgt spid="2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p:bldP spid="25" grpId="1"/>
      <p:bldP spid="20" grpId="0"/>
      <p:bldP spid="22" grpId="0"/>
      <p:bldP spid="23" grpId="0"/>
      <p:bldP spid="2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883" y="496"/>
            <a:ext cx="12434711" cy="158778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itle 1"/>
          <p:cNvSpPr txBox="1">
            <a:spLocks/>
          </p:cNvSpPr>
          <p:nvPr/>
        </p:nvSpPr>
        <p:spPr>
          <a:xfrm>
            <a:off x="275481" y="295731"/>
            <a:ext cx="11887878" cy="917444"/>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65"/>
            <a:r>
              <a:rPr lang="en-US" sz="4488" spc="-104">
                <a:gradFill>
                  <a:gsLst>
                    <a:gs pos="1250">
                      <a:srgbClr val="FFFFFF"/>
                    </a:gs>
                    <a:gs pos="100000">
                      <a:srgbClr val="FFFFFF"/>
                    </a:gs>
                  </a:gsLst>
                  <a:lin ang="5400000" scaled="0"/>
                </a:gradFill>
                <a:latin typeface="Segoe UI Light"/>
              </a:rPr>
              <a:t>Accelerate innovation with the cloud</a:t>
            </a:r>
            <a:endParaRPr lang="en-US" sz="4488" spc="-30">
              <a:gradFill>
                <a:gsLst>
                  <a:gs pos="1250">
                    <a:srgbClr val="FFFFFF"/>
                  </a:gs>
                  <a:gs pos="100000">
                    <a:srgbClr val="FFFFFF"/>
                  </a:gs>
                </a:gsLst>
                <a:lin ang="5400000" scaled="0"/>
              </a:gradFill>
              <a:latin typeface="Segoe UI Light"/>
            </a:endParaRPr>
          </a:p>
        </p:txBody>
      </p:sp>
      <p:sp>
        <p:nvSpPr>
          <p:cNvPr id="13" name="Text Placeholder 3"/>
          <p:cNvSpPr txBox="1">
            <a:spLocks/>
          </p:cNvSpPr>
          <p:nvPr/>
        </p:nvSpPr>
        <p:spPr>
          <a:xfrm>
            <a:off x="733324" y="4411548"/>
            <a:ext cx="2956620"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r>
              <a:rPr lang="en-US" sz="3264">
                <a:solidFill>
                  <a:srgbClr val="00327A"/>
                </a:solidFill>
                <a:latin typeface="Segoe UI Light"/>
              </a:rPr>
              <a:t>Build apps faster and easier</a:t>
            </a:r>
          </a:p>
        </p:txBody>
      </p:sp>
      <p:sp>
        <p:nvSpPr>
          <p:cNvPr id="14" name="Text Placeholder 3"/>
          <p:cNvSpPr txBox="1">
            <a:spLocks/>
          </p:cNvSpPr>
          <p:nvPr/>
        </p:nvSpPr>
        <p:spPr>
          <a:xfrm>
            <a:off x="8329455" y="4411547"/>
            <a:ext cx="3543224"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r>
              <a:rPr lang="en-US" sz="3264">
                <a:ln w="3175">
                  <a:noFill/>
                </a:ln>
                <a:solidFill>
                  <a:srgbClr val="00327A"/>
                </a:solidFill>
                <a:latin typeface="Segoe UI Light"/>
                <a:cs typeface="Segoe UI" pitchFamily="34" charset="0"/>
              </a:rPr>
              <a:t>Deliver native mobile apps seamlessly</a:t>
            </a:r>
          </a:p>
        </p:txBody>
      </p:sp>
      <p:sp>
        <p:nvSpPr>
          <p:cNvPr id="15" name="Text Placeholder 3"/>
          <p:cNvSpPr txBox="1">
            <a:spLocks/>
          </p:cNvSpPr>
          <p:nvPr/>
        </p:nvSpPr>
        <p:spPr>
          <a:xfrm>
            <a:off x="4570648" y="4411548"/>
            <a:ext cx="3088343"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r>
              <a:rPr lang="en-US" sz="3264">
                <a:ln w="3175">
                  <a:noFill/>
                </a:ln>
                <a:solidFill>
                  <a:srgbClr val="00327A"/>
                </a:solidFill>
                <a:latin typeface="Segoe UI Light"/>
                <a:cs typeface="Segoe UI" pitchFamily="34" charset="0"/>
              </a:rPr>
              <a:t>Manage applications proactively</a:t>
            </a:r>
          </a:p>
        </p:txBody>
      </p:sp>
      <p:sp>
        <p:nvSpPr>
          <p:cNvPr id="23" name="Rectangle 22"/>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App Innovation</a:t>
            </a:r>
          </a:p>
        </p:txBody>
      </p:sp>
      <p:sp>
        <p:nvSpPr>
          <p:cNvPr id="24" name="Freeform 13"/>
          <p:cNvSpPr>
            <a:spLocks noChangeAspect="1" noEditPoints="1"/>
          </p:cNvSpPr>
          <p:nvPr/>
        </p:nvSpPr>
        <p:spPr bwMode="auto">
          <a:xfrm>
            <a:off x="10619354" y="308769"/>
            <a:ext cx="818871" cy="56710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cxnSp>
        <p:nvCxnSpPr>
          <p:cNvPr id="9" name="Straight Connector 8"/>
          <p:cNvCxnSpPr/>
          <p:nvPr/>
        </p:nvCxnSpPr>
        <p:spPr>
          <a:xfrm>
            <a:off x="987289" y="4214650"/>
            <a:ext cx="10450936" cy="0"/>
          </a:xfrm>
          <a:prstGeom prst="line">
            <a:avLst/>
          </a:prstGeom>
          <a:ln w="31750">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a:stretch>
            <a:fillRect/>
          </a:stretch>
        </p:blipFill>
        <p:spPr>
          <a:xfrm>
            <a:off x="1771238" y="2629423"/>
            <a:ext cx="880792" cy="880792"/>
          </a:xfrm>
          <a:prstGeom prst="rect">
            <a:avLst/>
          </a:prstGeom>
        </p:spPr>
      </p:pic>
      <p:pic>
        <p:nvPicPr>
          <p:cNvPr id="20" name="Picture 19"/>
          <p:cNvPicPr>
            <a:picLocks noChangeAspect="1"/>
          </p:cNvPicPr>
          <p:nvPr/>
        </p:nvPicPr>
        <p:blipFill>
          <a:blip r:embed="rId4"/>
          <a:stretch>
            <a:fillRect/>
          </a:stretch>
        </p:blipFill>
        <p:spPr>
          <a:xfrm>
            <a:off x="5524966" y="2590564"/>
            <a:ext cx="1178707" cy="958509"/>
          </a:xfrm>
          <a:prstGeom prst="rect">
            <a:avLst/>
          </a:prstGeom>
        </p:spPr>
      </p:pic>
      <p:pic>
        <p:nvPicPr>
          <p:cNvPr id="25" name="Picture 24"/>
          <p:cNvPicPr>
            <a:picLocks noChangeAspect="1"/>
          </p:cNvPicPr>
          <p:nvPr/>
        </p:nvPicPr>
        <p:blipFill>
          <a:blip r:embed="rId5"/>
          <a:stretch>
            <a:fillRect/>
          </a:stretch>
        </p:blipFill>
        <p:spPr>
          <a:xfrm>
            <a:off x="9829057" y="2635899"/>
            <a:ext cx="544019" cy="867839"/>
          </a:xfrm>
          <a:prstGeom prst="rect">
            <a:avLst/>
          </a:prstGeom>
        </p:spPr>
      </p:pic>
    </p:spTree>
    <p:extLst>
      <p:ext uri="{BB962C8B-B14F-4D97-AF65-F5344CB8AC3E}">
        <p14:creationId xmlns:p14="http://schemas.microsoft.com/office/powerpoint/2010/main" val="189556552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42" presetClass="path" presetSubtype="0" decel="100000" fill="hold" grpId="1" nodeType="withEffect">
                                  <p:stCondLst>
                                    <p:cond delay="0"/>
                                  </p:stCondLst>
                                  <p:childTnLst>
                                    <p:animMotion origin="layout" path="M -4.375E-6 -4.81481E-6 L -4.375E-6 0.09121 " pathEditMode="relative" rAng="0" ptsTypes="AA">
                                      <p:cBhvr>
                                        <p:cTn id="13" dur="600" spd="-100000" fill="hold"/>
                                        <p:tgtEl>
                                          <p:spTgt spid="13"/>
                                        </p:tgtEl>
                                        <p:attrNameLst>
                                          <p:attrName>ppt_x</p:attrName>
                                          <p:attrName>ppt_y</p:attrName>
                                        </p:attrNameLst>
                                      </p:cBhvr>
                                      <p:rCtr x="0" y="4560"/>
                                    </p:animMotion>
                                  </p:childTnLst>
                                </p:cTn>
                              </p:par>
                              <p:par>
                                <p:cTn id="14" presetID="10" presetClass="entr" presetSubtype="0" fill="hold" grpId="0"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42" presetClass="path" presetSubtype="0" decel="100000" fill="hold" grpId="1" nodeType="withEffect">
                                  <p:stCondLst>
                                    <p:cond delay="100"/>
                                  </p:stCondLst>
                                  <p:childTnLst>
                                    <p:animMotion origin="layout" path="M 3.33333E-6 -7.40741E-7 L 3.33333E-6 0.0912 " pathEditMode="relative" rAng="0" ptsTypes="AA">
                                      <p:cBhvr>
                                        <p:cTn id="18" dur="600" spd="-100000" fill="hold"/>
                                        <p:tgtEl>
                                          <p:spTgt spid="15"/>
                                        </p:tgtEl>
                                        <p:attrNameLst>
                                          <p:attrName>ppt_x</p:attrName>
                                          <p:attrName>ppt_y</p:attrName>
                                        </p:attrNameLst>
                                      </p:cBhvr>
                                      <p:rCtr x="0" y="4560"/>
                                    </p:animMotion>
                                  </p:childTnLst>
                                </p:cTn>
                              </p:par>
                              <p:par>
                                <p:cTn id="19" presetID="10" presetClass="entr" presetSubtype="0" fill="hold" grpId="0" nodeType="withEffect">
                                  <p:stCondLst>
                                    <p:cond delay="2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200"/>
                                  </p:stCondLst>
                                  <p:childTnLst>
                                    <p:animMotion origin="layout" path="M 4.16667E-7 -4.81481E-6 L 4.16667E-7 0.09121 " pathEditMode="relative" rAng="0" ptsTypes="AA">
                                      <p:cBhvr>
                                        <p:cTn id="23" dur="600" spd="-100000" fill="hold"/>
                                        <p:tgtEl>
                                          <p:spTgt spid="14"/>
                                        </p:tgtEl>
                                        <p:attrNameLst>
                                          <p:attrName>ppt_x</p:attrName>
                                          <p:attrName>ppt_y</p:attrName>
                                        </p:attrNameLst>
                                      </p:cBhvr>
                                      <p:rCtr x="0" y="4560"/>
                                    </p:animMotion>
                                  </p:childTnLst>
                                </p:cTn>
                              </p:par>
                              <p:par>
                                <p:cTn id="24" presetID="23" presetClass="entr" presetSubtype="272" fill="hold" nodeType="withEffect">
                                  <p:stCondLst>
                                    <p:cond delay="200"/>
                                  </p:stCondLst>
                                  <p:childTnLst>
                                    <p:set>
                                      <p:cBhvr>
                                        <p:cTn id="25" dur="1" fill="hold">
                                          <p:stCondLst>
                                            <p:cond delay="0"/>
                                          </p:stCondLst>
                                        </p:cTn>
                                        <p:tgtEl>
                                          <p:spTgt spid="19"/>
                                        </p:tgtEl>
                                        <p:attrNameLst>
                                          <p:attrName>style.visibility</p:attrName>
                                        </p:attrNameLst>
                                      </p:cBhvr>
                                      <p:to>
                                        <p:strVal val="visible"/>
                                      </p:to>
                                    </p:set>
                                    <p:anim calcmode="lin" valueType="num">
                                      <p:cBhvr>
                                        <p:cTn id="26" dur="500" fill="hold"/>
                                        <p:tgtEl>
                                          <p:spTgt spid="19"/>
                                        </p:tgtEl>
                                        <p:attrNameLst>
                                          <p:attrName>ppt_w</p:attrName>
                                        </p:attrNameLst>
                                      </p:cBhvr>
                                      <p:tavLst>
                                        <p:tav tm="0">
                                          <p:val>
                                            <p:strVal val="2/3*#ppt_w"/>
                                          </p:val>
                                        </p:tav>
                                        <p:tav tm="100000">
                                          <p:val>
                                            <p:strVal val="#ppt_w"/>
                                          </p:val>
                                        </p:tav>
                                      </p:tavLst>
                                    </p:anim>
                                    <p:anim calcmode="lin" valueType="num">
                                      <p:cBhvr>
                                        <p:cTn id="27" dur="500" fill="hold"/>
                                        <p:tgtEl>
                                          <p:spTgt spid="19"/>
                                        </p:tgtEl>
                                        <p:attrNameLst>
                                          <p:attrName>ppt_h</p:attrName>
                                        </p:attrNameLst>
                                      </p:cBhvr>
                                      <p:tavLst>
                                        <p:tav tm="0">
                                          <p:val>
                                            <p:strVal val="2/3*#ppt_h"/>
                                          </p:val>
                                        </p:tav>
                                        <p:tav tm="100000">
                                          <p:val>
                                            <p:strVal val="#ppt_h"/>
                                          </p:val>
                                        </p:tav>
                                      </p:tavLst>
                                    </p:anim>
                                  </p:childTnLst>
                                </p:cTn>
                              </p:par>
                              <p:par>
                                <p:cTn id="28" presetID="23" presetClass="entr" presetSubtype="272" fill="hold" nodeType="withEffect">
                                  <p:stCondLst>
                                    <p:cond delay="200"/>
                                  </p:st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strVal val="2/3*#ppt_w"/>
                                          </p:val>
                                        </p:tav>
                                        <p:tav tm="100000">
                                          <p:val>
                                            <p:strVal val="#ppt_w"/>
                                          </p:val>
                                        </p:tav>
                                      </p:tavLst>
                                    </p:anim>
                                    <p:anim calcmode="lin" valueType="num">
                                      <p:cBhvr>
                                        <p:cTn id="31" dur="500" fill="hold"/>
                                        <p:tgtEl>
                                          <p:spTgt spid="20"/>
                                        </p:tgtEl>
                                        <p:attrNameLst>
                                          <p:attrName>ppt_h</p:attrName>
                                        </p:attrNameLst>
                                      </p:cBhvr>
                                      <p:tavLst>
                                        <p:tav tm="0">
                                          <p:val>
                                            <p:strVal val="2/3*#ppt_h"/>
                                          </p:val>
                                        </p:tav>
                                        <p:tav tm="100000">
                                          <p:val>
                                            <p:strVal val="#ppt_h"/>
                                          </p:val>
                                        </p:tav>
                                      </p:tavLst>
                                    </p:anim>
                                  </p:childTnLst>
                                </p:cTn>
                              </p:par>
                              <p:par>
                                <p:cTn id="32" presetID="23" presetClass="entr" presetSubtype="272" fill="hold" nodeType="withEffect">
                                  <p:stCondLst>
                                    <p:cond delay="200"/>
                                  </p:stCondLst>
                                  <p:childTnLst>
                                    <p:set>
                                      <p:cBhvr>
                                        <p:cTn id="33" dur="1" fill="hold">
                                          <p:stCondLst>
                                            <p:cond delay="0"/>
                                          </p:stCondLst>
                                        </p:cTn>
                                        <p:tgtEl>
                                          <p:spTgt spid="25"/>
                                        </p:tgtEl>
                                        <p:attrNameLst>
                                          <p:attrName>style.visibility</p:attrName>
                                        </p:attrNameLst>
                                      </p:cBhvr>
                                      <p:to>
                                        <p:strVal val="visible"/>
                                      </p:to>
                                    </p:set>
                                    <p:anim calcmode="lin" valueType="num">
                                      <p:cBhvr>
                                        <p:cTn id="34" dur="500" fill="hold"/>
                                        <p:tgtEl>
                                          <p:spTgt spid="25"/>
                                        </p:tgtEl>
                                        <p:attrNameLst>
                                          <p:attrName>ppt_w</p:attrName>
                                        </p:attrNameLst>
                                      </p:cBhvr>
                                      <p:tavLst>
                                        <p:tav tm="0">
                                          <p:val>
                                            <p:strVal val="2/3*#ppt_w"/>
                                          </p:val>
                                        </p:tav>
                                        <p:tav tm="100000">
                                          <p:val>
                                            <p:strVal val="#ppt_w"/>
                                          </p:val>
                                        </p:tav>
                                      </p:tavLst>
                                    </p:anim>
                                    <p:anim calcmode="lin" valueType="num">
                                      <p:cBhvr>
                                        <p:cTn id="35" dur="500" fill="hold"/>
                                        <p:tgtEl>
                                          <p:spTgt spid="25"/>
                                        </p:tgtEl>
                                        <p:attrNameLst>
                                          <p:attrName>ppt_h</p:attrName>
                                        </p:attrNameLst>
                                      </p:cBhvr>
                                      <p:tavLst>
                                        <p:tav tm="0">
                                          <p:val>
                                            <p:strVal val="2/3*#ppt_h"/>
                                          </p:val>
                                        </p:tav>
                                        <p:tav tm="100000">
                                          <p:val>
                                            <p:strVal val="#ppt_h"/>
                                          </p:val>
                                        </p:tav>
                                      </p:tavLst>
                                    </p:anim>
                                  </p:childTnLst>
                                </p:cTn>
                              </p:par>
                              <p:par>
                                <p:cTn id="36" presetID="16" presetClass="entr" presetSubtype="37" fill="hold" nodeType="withEffect">
                                  <p:stCondLst>
                                    <p:cond delay="200"/>
                                  </p:stCondLst>
                                  <p:childTnLst>
                                    <p:set>
                                      <p:cBhvr>
                                        <p:cTn id="37" dur="1" fill="hold">
                                          <p:stCondLst>
                                            <p:cond delay="0"/>
                                          </p:stCondLst>
                                        </p:cTn>
                                        <p:tgtEl>
                                          <p:spTgt spid="9"/>
                                        </p:tgtEl>
                                        <p:attrNameLst>
                                          <p:attrName>style.visibility</p:attrName>
                                        </p:attrNameLst>
                                      </p:cBhvr>
                                      <p:to>
                                        <p:strVal val="visible"/>
                                      </p:to>
                                    </p:set>
                                    <p:animEffect transition="in" filter="barn(outVertical)">
                                      <p:cBhvr>
                                        <p:cTn id="3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3" grpId="0"/>
      <p:bldP spid="13" grpId="1"/>
      <p:bldP spid="14" grpId="0"/>
      <p:bldP spid="14" grpId="1"/>
      <p:bldP spid="15" grpId="0"/>
      <p:bldP spid="15"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bwMode="auto">
          <a:xfrm>
            <a:off x="883" y="1549855"/>
            <a:ext cx="12434710" cy="5444670"/>
          </a:xfrm>
          <a:prstGeom prst="rect">
            <a:avLst/>
          </a:prstGeom>
          <a:solidFill>
            <a:schemeClr val="bg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1632" b="1" kern="0">
              <a:gradFill>
                <a:gsLst>
                  <a:gs pos="0">
                    <a:srgbClr val="FFFFFF"/>
                  </a:gs>
                  <a:gs pos="100000">
                    <a:srgbClr val="FFFFFF"/>
                  </a:gs>
                </a:gsLst>
                <a:lin ang="5400000" scaled="0"/>
              </a:gradFill>
              <a:latin typeface="Segoe UI Light"/>
            </a:endParaRPr>
          </a:p>
        </p:txBody>
      </p:sp>
      <p:sp>
        <p:nvSpPr>
          <p:cNvPr id="34" name="Rectangle 33"/>
          <p:cNvSpPr/>
          <p:nvPr/>
        </p:nvSpPr>
        <p:spPr bwMode="auto">
          <a:xfrm>
            <a:off x="8806052" y="1883516"/>
            <a:ext cx="2523386" cy="2377103"/>
          </a:xfrm>
          <a:prstGeom prst="rect">
            <a:avLst/>
          </a:prstGeom>
          <a:solidFill>
            <a:srgbClr val="292929"/>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1632" b="1" kern="0">
              <a:gradFill>
                <a:gsLst>
                  <a:gs pos="0">
                    <a:srgbClr val="FFFFFF"/>
                  </a:gs>
                  <a:gs pos="100000">
                    <a:srgbClr val="FFFFFF"/>
                  </a:gs>
                </a:gsLst>
                <a:lin ang="5400000" scaled="0"/>
              </a:gradFill>
              <a:latin typeface="Segoe UI Light"/>
            </a:endParaRPr>
          </a:p>
        </p:txBody>
      </p:sp>
      <p:sp>
        <p:nvSpPr>
          <p:cNvPr id="6" name="Rectangle 5"/>
          <p:cNvSpPr/>
          <p:nvPr/>
        </p:nvSpPr>
        <p:spPr bwMode="auto">
          <a:xfrm>
            <a:off x="1081678" y="1883516"/>
            <a:ext cx="7672969" cy="237710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1632" b="1" kern="0">
              <a:gradFill>
                <a:gsLst>
                  <a:gs pos="0">
                    <a:srgbClr val="FFFFFF"/>
                  </a:gs>
                  <a:gs pos="100000">
                    <a:srgbClr val="FFFFFF"/>
                  </a:gs>
                </a:gsLst>
                <a:lin ang="5400000" scaled="0"/>
              </a:gradFill>
              <a:latin typeface="Segoe UI Light"/>
            </a:endParaRPr>
          </a:p>
        </p:txBody>
      </p:sp>
      <p:sp>
        <p:nvSpPr>
          <p:cNvPr id="52" name="TextBox 51"/>
          <p:cNvSpPr txBox="1"/>
          <p:nvPr/>
        </p:nvSpPr>
        <p:spPr>
          <a:xfrm>
            <a:off x="6376590" y="3501402"/>
            <a:ext cx="2131455" cy="577852"/>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x-none">
                <a:latin typeface="Segoe UI"/>
              </a:rPr>
              <a:t>Service </a:t>
            </a:r>
            <a:r>
              <a:rPr lang="en-US">
                <a:latin typeface="Segoe UI"/>
              </a:rPr>
              <a:t>F</a:t>
            </a:r>
            <a:r>
              <a:rPr lang="x-none">
                <a:latin typeface="Segoe UI"/>
              </a:rPr>
              <a:t>abric</a:t>
            </a:r>
          </a:p>
        </p:txBody>
      </p:sp>
      <p:sp>
        <p:nvSpPr>
          <p:cNvPr id="75" name="TextBox 74"/>
          <p:cNvSpPr txBox="1"/>
          <p:nvPr/>
        </p:nvSpPr>
        <p:spPr>
          <a:xfrm>
            <a:off x="1871752" y="3501402"/>
            <a:ext cx="943237" cy="572299"/>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x-none" sz="2000" kern="0">
                <a:gradFill>
                  <a:gsLst>
                    <a:gs pos="0">
                      <a:srgbClr val="FFFFFF"/>
                    </a:gs>
                    <a:gs pos="100000">
                      <a:srgbClr val="FFFFFF"/>
                    </a:gs>
                  </a:gsLst>
                  <a:lin ang="5400000" scaled="0"/>
                </a:gradFill>
                <a:latin typeface="Segoe UI"/>
              </a:rPr>
              <a:t>VM</a:t>
            </a:r>
          </a:p>
        </p:txBody>
      </p:sp>
      <p:sp>
        <p:nvSpPr>
          <p:cNvPr id="82" name="TextBox 81"/>
          <p:cNvSpPr txBox="1"/>
          <p:nvPr/>
        </p:nvSpPr>
        <p:spPr>
          <a:xfrm>
            <a:off x="4022467" y="3501402"/>
            <a:ext cx="1791393" cy="577852"/>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a:latin typeface="Segoe UI"/>
              </a:rPr>
              <a:t>Containers</a:t>
            </a:r>
          </a:p>
        </p:txBody>
      </p:sp>
      <p:sp>
        <p:nvSpPr>
          <p:cNvPr id="53" name="TextBox 52"/>
          <p:cNvSpPr txBox="1"/>
          <p:nvPr/>
        </p:nvSpPr>
        <p:spPr>
          <a:xfrm>
            <a:off x="6237924" y="4435746"/>
            <a:ext cx="2523386" cy="1035855"/>
          </a:xfrm>
          <a:prstGeom prst="rect">
            <a:avLst/>
          </a:prstGeom>
          <a:noFill/>
        </p:spPr>
        <p:txBody>
          <a:bodyPr wrap="square" lIns="93247" tIns="93247" rIns="93247" bIns="93247"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32029">
              <a:lnSpc>
                <a:spcPct val="100000"/>
              </a:lnSpc>
              <a:defRPr/>
            </a:pPr>
            <a:r>
              <a:rPr lang="x-none" sz="1800">
                <a:gradFill>
                  <a:gsLst>
                    <a:gs pos="0">
                      <a:srgbClr val="505050"/>
                    </a:gs>
                    <a:gs pos="100000">
                      <a:srgbClr val="505050"/>
                    </a:gs>
                  </a:gsLst>
                  <a:lin ang="5400000" scaled="0"/>
                </a:gradFill>
                <a:latin typeface="Segoe UI"/>
              </a:rPr>
              <a:t>Always-on, scalable, distributed applications</a:t>
            </a:r>
          </a:p>
        </p:txBody>
      </p:sp>
      <p:sp>
        <p:nvSpPr>
          <p:cNvPr id="66" name="TextBox 65"/>
          <p:cNvSpPr txBox="1"/>
          <p:nvPr/>
        </p:nvSpPr>
        <p:spPr>
          <a:xfrm>
            <a:off x="3660740" y="4435747"/>
            <a:ext cx="2523386" cy="470829"/>
          </a:xfrm>
          <a:prstGeom prst="rect">
            <a:avLst/>
          </a:prstGeom>
          <a:noFill/>
        </p:spPr>
        <p:txBody>
          <a:bodyPr wrap="square" lIns="93247" tIns="93247" rIns="93247" bIns="93247"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32029">
              <a:lnSpc>
                <a:spcPct val="100000"/>
              </a:lnSpc>
              <a:defRPr/>
            </a:pPr>
            <a:r>
              <a:rPr lang="x-none" sz="1800">
                <a:gradFill>
                  <a:gsLst>
                    <a:gs pos="0">
                      <a:srgbClr val="505050"/>
                    </a:gs>
                    <a:gs pos="100000">
                      <a:srgbClr val="505050"/>
                    </a:gs>
                  </a:gsLst>
                  <a:lin ang="5400000" scaled="0"/>
                </a:gradFill>
                <a:latin typeface="Segoe UI"/>
              </a:rPr>
              <a:t>Efficiency </a:t>
            </a:r>
            <a:r>
              <a:rPr lang="en-NZ" sz="1800">
                <a:gradFill>
                  <a:gsLst>
                    <a:gs pos="0">
                      <a:srgbClr val="505050"/>
                    </a:gs>
                    <a:gs pos="100000">
                      <a:srgbClr val="505050"/>
                    </a:gs>
                  </a:gsLst>
                  <a:lin ang="5400000" scaled="0"/>
                </a:gradFill>
                <a:latin typeface="Segoe UI"/>
              </a:rPr>
              <a:t>and</a:t>
            </a:r>
            <a:r>
              <a:rPr lang="x-none" sz="1800">
                <a:gradFill>
                  <a:gsLst>
                    <a:gs pos="0">
                      <a:srgbClr val="505050"/>
                    </a:gs>
                    <a:gs pos="100000">
                      <a:srgbClr val="505050"/>
                    </a:gs>
                  </a:gsLst>
                  <a:lin ang="5400000" scaled="0"/>
                </a:gradFill>
                <a:latin typeface="Segoe UI"/>
              </a:rPr>
              <a:t> </a:t>
            </a:r>
            <a:r>
              <a:rPr lang="en-NZ" sz="1800">
                <a:gradFill>
                  <a:gsLst>
                    <a:gs pos="0">
                      <a:srgbClr val="505050"/>
                    </a:gs>
                    <a:gs pos="100000">
                      <a:srgbClr val="505050"/>
                    </a:gs>
                  </a:gsLst>
                  <a:lin ang="5400000" scaled="0"/>
                </a:gradFill>
                <a:latin typeface="Segoe UI"/>
              </a:rPr>
              <a:t>s</a:t>
            </a:r>
            <a:r>
              <a:rPr lang="x-none" sz="1800">
                <a:gradFill>
                  <a:gsLst>
                    <a:gs pos="0">
                      <a:srgbClr val="505050"/>
                    </a:gs>
                    <a:gs pos="100000">
                      <a:srgbClr val="505050"/>
                    </a:gs>
                  </a:gsLst>
                  <a:lin ang="5400000" scaled="0"/>
                </a:gradFill>
                <a:latin typeface="Segoe UI"/>
              </a:rPr>
              <a:t>peed</a:t>
            </a:r>
          </a:p>
        </p:txBody>
      </p:sp>
      <p:sp>
        <p:nvSpPr>
          <p:cNvPr id="76" name="TextBox 75"/>
          <p:cNvSpPr txBox="1"/>
          <p:nvPr/>
        </p:nvSpPr>
        <p:spPr>
          <a:xfrm>
            <a:off x="1083558" y="4435747"/>
            <a:ext cx="2523386" cy="753341"/>
          </a:xfrm>
          <a:prstGeom prst="rect">
            <a:avLst/>
          </a:prstGeom>
          <a:noFill/>
        </p:spPr>
        <p:txBody>
          <a:bodyPr wrap="square" lIns="93247" tIns="93247" rIns="93247" bIns="93247" rtlCol="0" anchor="t" anchorCtr="0">
            <a:spAutoFit/>
          </a:bodyPr>
          <a:lstStyle/>
          <a:p>
            <a:pPr algn="ctr" defTabSz="932029">
              <a:defRPr/>
            </a:pPr>
            <a:r>
              <a:rPr lang="x-none" kern="0">
                <a:gradFill>
                  <a:gsLst>
                    <a:gs pos="0">
                      <a:srgbClr val="505050"/>
                    </a:gs>
                    <a:gs pos="100000">
                      <a:srgbClr val="505050"/>
                    </a:gs>
                  </a:gsLst>
                  <a:lin ang="5400000" scaled="0"/>
                </a:gradFill>
                <a:latin typeface="Segoe UI"/>
                <a:cs typeface="Segoe UI Light" panose="020B0502040204020203" pitchFamily="34" charset="0"/>
              </a:rPr>
              <a:t>Legacy applications, no change</a:t>
            </a:r>
          </a:p>
        </p:txBody>
      </p:sp>
      <p:sp>
        <p:nvSpPr>
          <p:cNvPr id="51" name="Rectangle 50"/>
          <p:cNvSpPr/>
          <p:nvPr/>
        </p:nvSpPr>
        <p:spPr bwMode="auto">
          <a:xfrm>
            <a:off x="1081677" y="5814419"/>
            <a:ext cx="2523386" cy="7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Lift and shift</a:t>
            </a:r>
          </a:p>
        </p:txBody>
      </p:sp>
      <p:sp>
        <p:nvSpPr>
          <p:cNvPr id="61" name="Rectangle 60"/>
          <p:cNvSpPr/>
          <p:nvPr/>
        </p:nvSpPr>
        <p:spPr bwMode="auto">
          <a:xfrm>
            <a:off x="3656468" y="5814419"/>
            <a:ext cx="2523386" cy="7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Improved </a:t>
            </a:r>
            <a:br>
              <a:rPr lang="en-US" sz="1836">
                <a:solidFill>
                  <a:srgbClr val="00188F"/>
                </a:solidFill>
                <a:latin typeface="Segoe UI"/>
              </a:rPr>
            </a:br>
            <a:r>
              <a:rPr lang="en-US" sz="1836">
                <a:solidFill>
                  <a:srgbClr val="00188F"/>
                </a:solidFill>
                <a:latin typeface="Segoe UI"/>
              </a:rPr>
              <a:t>DevOps</a:t>
            </a:r>
          </a:p>
        </p:txBody>
      </p:sp>
      <p:sp>
        <p:nvSpPr>
          <p:cNvPr id="63" name="Rectangle 62"/>
          <p:cNvSpPr/>
          <p:nvPr/>
        </p:nvSpPr>
        <p:spPr bwMode="auto">
          <a:xfrm>
            <a:off x="6231260" y="5814419"/>
            <a:ext cx="2523386" cy="7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err="1">
                <a:solidFill>
                  <a:srgbClr val="00188F"/>
                </a:solidFill>
                <a:latin typeface="Segoe UI"/>
              </a:rPr>
              <a:t>Hyperscale</a:t>
            </a:r>
            <a:endParaRPr lang="en-US" sz="1836">
              <a:solidFill>
                <a:srgbClr val="00188F"/>
              </a:solidFill>
              <a:latin typeface="Segoe UI"/>
            </a:endParaRPr>
          </a:p>
          <a:p>
            <a:pPr algn="ctr" defTabSz="931935" fontAlgn="base">
              <a:spcBef>
                <a:spcPct val="0"/>
              </a:spcBef>
              <a:spcAft>
                <a:spcPct val="0"/>
              </a:spcAft>
              <a:defRPr/>
            </a:pPr>
            <a:r>
              <a:rPr lang="en-US" sz="1836">
                <a:solidFill>
                  <a:srgbClr val="00188F"/>
                </a:solidFill>
                <a:latin typeface="Segoe UI"/>
              </a:rPr>
              <a:t>(e.g. IOT)</a:t>
            </a:r>
          </a:p>
        </p:txBody>
      </p:sp>
      <p:sp>
        <p:nvSpPr>
          <p:cNvPr id="35" name="TextBox 34"/>
          <p:cNvSpPr txBox="1"/>
          <p:nvPr/>
        </p:nvSpPr>
        <p:spPr>
          <a:xfrm>
            <a:off x="8815109" y="4435746"/>
            <a:ext cx="2523386" cy="1035855"/>
          </a:xfrm>
          <a:prstGeom prst="rect">
            <a:avLst/>
          </a:prstGeom>
          <a:noFill/>
        </p:spPr>
        <p:txBody>
          <a:bodyPr wrap="square" lIns="93247" tIns="93247" rIns="93247" bIns="93247"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32029">
              <a:lnSpc>
                <a:spcPct val="100000"/>
              </a:lnSpc>
              <a:defRPr/>
            </a:pPr>
            <a:r>
              <a:rPr lang="en-NZ" sz="1800" dirty="0">
                <a:gradFill>
                  <a:gsLst>
                    <a:gs pos="0">
                      <a:srgbClr val="505050"/>
                    </a:gs>
                    <a:gs pos="100000">
                      <a:srgbClr val="505050"/>
                    </a:gs>
                  </a:gsLst>
                  <a:lin ang="5400000" scaled="0"/>
                </a:gradFill>
                <a:latin typeface="Segoe UI"/>
              </a:rPr>
              <a:t>Cloud Foundry, </a:t>
            </a:r>
            <a:r>
              <a:rPr lang="en-NZ" sz="1800" dirty="0" err="1">
                <a:gradFill>
                  <a:gsLst>
                    <a:gs pos="0">
                      <a:srgbClr val="505050"/>
                    </a:gs>
                    <a:gs pos="100000">
                      <a:srgbClr val="505050"/>
                    </a:gs>
                  </a:gsLst>
                  <a:lin ang="5400000" scaled="0"/>
                </a:gradFill>
                <a:latin typeface="Segoe UI"/>
              </a:rPr>
              <a:t>OpenShift</a:t>
            </a:r>
            <a:r>
              <a:rPr lang="en-NZ" sz="1800" dirty="0">
                <a:gradFill>
                  <a:gsLst>
                    <a:gs pos="0">
                      <a:srgbClr val="505050"/>
                    </a:gs>
                    <a:gs pos="100000">
                      <a:srgbClr val="505050"/>
                    </a:gs>
                  </a:gsLst>
                  <a:lin ang="5400000" scaled="0"/>
                </a:gradFill>
                <a:latin typeface="Segoe UI"/>
              </a:rPr>
              <a:t>, </a:t>
            </a:r>
            <a:r>
              <a:rPr lang="en-NZ" sz="1800" dirty="0" err="1">
                <a:gradFill>
                  <a:gsLst>
                    <a:gs pos="0">
                      <a:srgbClr val="505050"/>
                    </a:gs>
                    <a:gs pos="100000">
                      <a:srgbClr val="505050"/>
                    </a:gs>
                  </a:gsLst>
                  <a:lin ang="5400000" scaled="0"/>
                </a:gradFill>
                <a:latin typeface="Segoe UI"/>
              </a:rPr>
              <a:t>Apprenda</a:t>
            </a:r>
            <a:r>
              <a:rPr lang="en-NZ" sz="1800" dirty="0">
                <a:gradFill>
                  <a:gsLst>
                    <a:gs pos="0">
                      <a:srgbClr val="505050"/>
                    </a:gs>
                    <a:gs pos="100000">
                      <a:srgbClr val="505050"/>
                    </a:gs>
                  </a:gsLst>
                  <a:lin ang="5400000" scaled="0"/>
                </a:gradFill>
                <a:latin typeface="Segoe UI"/>
              </a:rPr>
              <a:t>, </a:t>
            </a:r>
            <a:r>
              <a:rPr lang="en-NZ" sz="1800" dirty="0" err="1">
                <a:gradFill>
                  <a:gsLst>
                    <a:gs pos="0">
                      <a:srgbClr val="505050"/>
                    </a:gs>
                    <a:gs pos="100000">
                      <a:srgbClr val="505050"/>
                    </a:gs>
                  </a:gsLst>
                  <a:lin ang="5400000" scaled="0"/>
                </a:gradFill>
                <a:latin typeface="Segoe UI"/>
              </a:rPr>
              <a:t>Jelastic</a:t>
            </a:r>
            <a:r>
              <a:rPr lang="en-NZ" sz="1800" dirty="0">
                <a:gradFill>
                  <a:gsLst>
                    <a:gs pos="0">
                      <a:srgbClr val="505050"/>
                    </a:gs>
                    <a:gs pos="100000">
                      <a:srgbClr val="505050"/>
                    </a:gs>
                  </a:gsLst>
                  <a:lin ang="5400000" scaled="0"/>
                </a:gradFill>
                <a:latin typeface="Segoe UI"/>
              </a:rPr>
              <a:t>, etc.</a:t>
            </a:r>
          </a:p>
        </p:txBody>
      </p:sp>
      <p:sp>
        <p:nvSpPr>
          <p:cNvPr id="36" name="Rectangle 35"/>
          <p:cNvSpPr/>
          <p:nvPr/>
        </p:nvSpPr>
        <p:spPr bwMode="auto">
          <a:xfrm>
            <a:off x="8806052" y="5814419"/>
            <a:ext cx="2523386" cy="7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Third-party</a:t>
            </a:r>
            <a:br>
              <a:rPr lang="en-US" sz="1836">
                <a:solidFill>
                  <a:srgbClr val="00188F"/>
                </a:solidFill>
                <a:latin typeface="Segoe UI"/>
              </a:rPr>
            </a:br>
            <a:r>
              <a:rPr lang="en-US" sz="1836">
                <a:solidFill>
                  <a:srgbClr val="00188F"/>
                </a:solidFill>
                <a:latin typeface="Segoe UI"/>
              </a:rPr>
              <a:t>frameworks</a:t>
            </a:r>
          </a:p>
        </p:txBody>
      </p:sp>
      <p:grpSp>
        <p:nvGrpSpPr>
          <p:cNvPr id="11" name="Group 10"/>
          <p:cNvGrpSpPr>
            <a:grpSpLocks noChangeAspect="1"/>
          </p:cNvGrpSpPr>
          <p:nvPr/>
        </p:nvGrpSpPr>
        <p:grpSpPr>
          <a:xfrm>
            <a:off x="9717129" y="2497620"/>
            <a:ext cx="701231" cy="713299"/>
            <a:chOff x="9212930" y="2075755"/>
            <a:chExt cx="633657" cy="644562"/>
          </a:xfrm>
          <a:solidFill>
            <a:schemeClr val="bg1"/>
          </a:solidFill>
        </p:grpSpPr>
        <p:sp>
          <p:nvSpPr>
            <p:cNvPr id="41" name="Freeform 9"/>
            <p:cNvSpPr>
              <a:spLocks/>
            </p:cNvSpPr>
            <p:nvPr/>
          </p:nvSpPr>
          <p:spPr bwMode="auto">
            <a:xfrm>
              <a:off x="9212930" y="2075755"/>
              <a:ext cx="290692" cy="296333"/>
            </a:xfrm>
            <a:custGeom>
              <a:avLst/>
              <a:gdLst>
                <a:gd name="T0" fmla="*/ 0 w 1546"/>
                <a:gd name="T1" fmla="*/ 0 h 1576"/>
                <a:gd name="T2" fmla="*/ 0 w 1546"/>
                <a:gd name="T3" fmla="*/ 1198 h 1576"/>
                <a:gd name="T4" fmla="*/ 360 w 1546"/>
                <a:gd name="T5" fmla="*/ 830 h 1576"/>
                <a:gd name="T6" fmla="*/ 1092 w 1546"/>
                <a:gd name="T7" fmla="*/ 1576 h 1576"/>
                <a:gd name="T8" fmla="*/ 1546 w 1546"/>
                <a:gd name="T9" fmla="*/ 1115 h 1576"/>
                <a:gd name="T10" fmla="*/ 814 w 1546"/>
                <a:gd name="T11" fmla="*/ 370 h 1576"/>
                <a:gd name="T12" fmla="*/ 1181 w 1546"/>
                <a:gd name="T13" fmla="*/ 0 h 1576"/>
                <a:gd name="T14" fmla="*/ 0 w 1546"/>
                <a:gd name="T15" fmla="*/ 0 h 1576"/>
                <a:gd name="T16" fmla="*/ 0 w 1546"/>
                <a:gd name="T17" fmla="*/ 0 h 1576"/>
                <a:gd name="T18" fmla="*/ 0 w 1546"/>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76">
                  <a:moveTo>
                    <a:pt x="0" y="0"/>
                  </a:moveTo>
                  <a:lnTo>
                    <a:pt x="0" y="1198"/>
                  </a:lnTo>
                  <a:lnTo>
                    <a:pt x="360" y="830"/>
                  </a:lnTo>
                  <a:lnTo>
                    <a:pt x="1092" y="1576"/>
                  </a:lnTo>
                  <a:lnTo>
                    <a:pt x="1546" y="1115"/>
                  </a:lnTo>
                  <a:lnTo>
                    <a:pt x="814" y="370"/>
                  </a:lnTo>
                  <a:lnTo>
                    <a:pt x="118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632" b="1" kern="0">
                <a:solidFill>
                  <a:sysClr val="windowText" lastClr="000000"/>
                </a:solidFill>
                <a:latin typeface="Segoe UI Light"/>
              </a:endParaRPr>
            </a:p>
          </p:txBody>
        </p:sp>
        <p:sp>
          <p:nvSpPr>
            <p:cNvPr id="42" name="Freeform 10"/>
            <p:cNvSpPr>
              <a:spLocks/>
            </p:cNvSpPr>
            <p:nvPr/>
          </p:nvSpPr>
          <p:spPr bwMode="auto">
            <a:xfrm>
              <a:off x="9555518" y="2075755"/>
              <a:ext cx="291069" cy="296333"/>
            </a:xfrm>
            <a:custGeom>
              <a:avLst/>
              <a:gdLst>
                <a:gd name="T0" fmla="*/ 1548 w 1548"/>
                <a:gd name="T1" fmla="*/ 0 h 1576"/>
                <a:gd name="T2" fmla="*/ 1548 w 1548"/>
                <a:gd name="T3" fmla="*/ 1198 h 1576"/>
                <a:gd name="T4" fmla="*/ 1181 w 1548"/>
                <a:gd name="T5" fmla="*/ 830 h 1576"/>
                <a:gd name="T6" fmla="*/ 449 w 1548"/>
                <a:gd name="T7" fmla="*/ 1576 h 1576"/>
                <a:gd name="T8" fmla="*/ 0 w 1548"/>
                <a:gd name="T9" fmla="*/ 1115 h 1576"/>
                <a:gd name="T10" fmla="*/ 727 w 1548"/>
                <a:gd name="T11" fmla="*/ 370 h 1576"/>
                <a:gd name="T12" fmla="*/ 362 w 1548"/>
                <a:gd name="T13" fmla="*/ 0 h 1576"/>
                <a:gd name="T14" fmla="*/ 1548 w 1548"/>
                <a:gd name="T15" fmla="*/ 0 h 1576"/>
                <a:gd name="T16" fmla="*/ 1548 w 1548"/>
                <a:gd name="T17" fmla="*/ 0 h 1576"/>
                <a:gd name="T18" fmla="*/ 1548 w 1548"/>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76">
                  <a:moveTo>
                    <a:pt x="1548" y="0"/>
                  </a:moveTo>
                  <a:lnTo>
                    <a:pt x="1548" y="1198"/>
                  </a:lnTo>
                  <a:lnTo>
                    <a:pt x="1181" y="830"/>
                  </a:lnTo>
                  <a:lnTo>
                    <a:pt x="449" y="1576"/>
                  </a:lnTo>
                  <a:lnTo>
                    <a:pt x="0" y="1115"/>
                  </a:lnTo>
                  <a:lnTo>
                    <a:pt x="727" y="370"/>
                  </a:lnTo>
                  <a:lnTo>
                    <a:pt x="362" y="0"/>
                  </a:lnTo>
                  <a:lnTo>
                    <a:pt x="1548" y="0"/>
                  </a:lnTo>
                  <a:lnTo>
                    <a:pt x="1548" y="0"/>
                  </a:lnTo>
                  <a:lnTo>
                    <a:pt x="15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632" b="1" kern="0">
                <a:solidFill>
                  <a:sysClr val="windowText" lastClr="000000"/>
                </a:solidFill>
                <a:latin typeface="Segoe UI Light"/>
              </a:endParaRPr>
            </a:p>
          </p:txBody>
        </p:sp>
        <p:sp>
          <p:nvSpPr>
            <p:cNvPr id="43" name="Freeform 11"/>
            <p:cNvSpPr>
              <a:spLocks/>
            </p:cNvSpPr>
            <p:nvPr/>
          </p:nvSpPr>
          <p:spPr bwMode="auto">
            <a:xfrm>
              <a:off x="9212930" y="2421540"/>
              <a:ext cx="290692" cy="298777"/>
            </a:xfrm>
            <a:custGeom>
              <a:avLst/>
              <a:gdLst>
                <a:gd name="T0" fmla="*/ 0 w 1546"/>
                <a:gd name="T1" fmla="*/ 1589 h 1589"/>
                <a:gd name="T2" fmla="*/ 0 w 1546"/>
                <a:gd name="T3" fmla="*/ 385 h 1589"/>
                <a:gd name="T4" fmla="*/ 360 w 1546"/>
                <a:gd name="T5" fmla="*/ 756 h 1589"/>
                <a:gd name="T6" fmla="*/ 1092 w 1546"/>
                <a:gd name="T7" fmla="*/ 0 h 1589"/>
                <a:gd name="T8" fmla="*/ 1546 w 1546"/>
                <a:gd name="T9" fmla="*/ 469 h 1589"/>
                <a:gd name="T10" fmla="*/ 814 w 1546"/>
                <a:gd name="T11" fmla="*/ 1219 h 1589"/>
                <a:gd name="T12" fmla="*/ 1181 w 1546"/>
                <a:gd name="T13" fmla="*/ 1589 h 1589"/>
                <a:gd name="T14" fmla="*/ 0 w 1546"/>
                <a:gd name="T15" fmla="*/ 1589 h 1589"/>
                <a:gd name="T16" fmla="*/ 0 w 1546"/>
                <a:gd name="T17" fmla="*/ 1589 h 1589"/>
                <a:gd name="T18" fmla="*/ 0 w 1546"/>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89">
                  <a:moveTo>
                    <a:pt x="0" y="1589"/>
                  </a:moveTo>
                  <a:lnTo>
                    <a:pt x="0" y="385"/>
                  </a:lnTo>
                  <a:lnTo>
                    <a:pt x="360" y="756"/>
                  </a:lnTo>
                  <a:lnTo>
                    <a:pt x="1092" y="0"/>
                  </a:lnTo>
                  <a:lnTo>
                    <a:pt x="1546" y="469"/>
                  </a:lnTo>
                  <a:lnTo>
                    <a:pt x="814" y="1219"/>
                  </a:lnTo>
                  <a:lnTo>
                    <a:pt x="1181" y="1589"/>
                  </a:lnTo>
                  <a:lnTo>
                    <a:pt x="0" y="1589"/>
                  </a:lnTo>
                  <a:lnTo>
                    <a:pt x="0" y="1589"/>
                  </a:lnTo>
                  <a:lnTo>
                    <a:pt x="0" y="1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632" b="1" kern="0">
                <a:solidFill>
                  <a:srgbClr val="D83B01"/>
                </a:solidFill>
                <a:latin typeface="Segoe UI Light"/>
              </a:endParaRPr>
            </a:p>
          </p:txBody>
        </p:sp>
        <p:sp>
          <p:nvSpPr>
            <p:cNvPr id="44" name="Freeform 12"/>
            <p:cNvSpPr>
              <a:spLocks/>
            </p:cNvSpPr>
            <p:nvPr/>
          </p:nvSpPr>
          <p:spPr bwMode="auto">
            <a:xfrm>
              <a:off x="9555518" y="2421540"/>
              <a:ext cx="291069" cy="298777"/>
            </a:xfrm>
            <a:custGeom>
              <a:avLst/>
              <a:gdLst>
                <a:gd name="T0" fmla="*/ 1548 w 1548"/>
                <a:gd name="T1" fmla="*/ 1589 h 1589"/>
                <a:gd name="T2" fmla="*/ 1548 w 1548"/>
                <a:gd name="T3" fmla="*/ 385 h 1589"/>
                <a:gd name="T4" fmla="*/ 1181 w 1548"/>
                <a:gd name="T5" fmla="*/ 756 h 1589"/>
                <a:gd name="T6" fmla="*/ 449 w 1548"/>
                <a:gd name="T7" fmla="*/ 0 h 1589"/>
                <a:gd name="T8" fmla="*/ 0 w 1548"/>
                <a:gd name="T9" fmla="*/ 469 h 1589"/>
                <a:gd name="T10" fmla="*/ 727 w 1548"/>
                <a:gd name="T11" fmla="*/ 1219 h 1589"/>
                <a:gd name="T12" fmla="*/ 362 w 1548"/>
                <a:gd name="T13" fmla="*/ 1589 h 1589"/>
                <a:gd name="T14" fmla="*/ 1548 w 1548"/>
                <a:gd name="T15" fmla="*/ 1589 h 1589"/>
                <a:gd name="T16" fmla="*/ 1548 w 1548"/>
                <a:gd name="T17" fmla="*/ 1589 h 1589"/>
                <a:gd name="T18" fmla="*/ 1548 w 1548"/>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89">
                  <a:moveTo>
                    <a:pt x="1548" y="1589"/>
                  </a:moveTo>
                  <a:lnTo>
                    <a:pt x="1548" y="385"/>
                  </a:lnTo>
                  <a:lnTo>
                    <a:pt x="1181" y="756"/>
                  </a:lnTo>
                  <a:lnTo>
                    <a:pt x="449" y="0"/>
                  </a:lnTo>
                  <a:lnTo>
                    <a:pt x="0" y="469"/>
                  </a:lnTo>
                  <a:lnTo>
                    <a:pt x="727" y="1219"/>
                  </a:lnTo>
                  <a:lnTo>
                    <a:pt x="362" y="1589"/>
                  </a:lnTo>
                  <a:lnTo>
                    <a:pt x="1548" y="1589"/>
                  </a:lnTo>
                  <a:lnTo>
                    <a:pt x="1548" y="1589"/>
                  </a:lnTo>
                  <a:lnTo>
                    <a:pt x="1548" y="1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632" b="1" kern="0">
                <a:solidFill>
                  <a:srgbClr val="D83B01"/>
                </a:solidFill>
                <a:latin typeface="Segoe UI Light"/>
              </a:endParaRPr>
            </a:p>
          </p:txBody>
        </p:sp>
      </p:grpSp>
      <p:sp>
        <p:nvSpPr>
          <p:cNvPr id="37" name="TextBox 36"/>
          <p:cNvSpPr txBox="1"/>
          <p:nvPr/>
        </p:nvSpPr>
        <p:spPr>
          <a:xfrm>
            <a:off x="9408341" y="3501402"/>
            <a:ext cx="1217537" cy="577852"/>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a:latin typeface="Segoe UI"/>
              </a:rPr>
              <a:t>Other</a:t>
            </a:r>
          </a:p>
        </p:txBody>
      </p:sp>
      <p:pic>
        <p:nvPicPr>
          <p:cNvPr id="4" name="Picture 3"/>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73548" y="2436520"/>
            <a:ext cx="802463" cy="802463"/>
          </a:xfrm>
          <a:prstGeom prst="rect">
            <a:avLst/>
          </a:prstGeom>
        </p:spPr>
      </p:pic>
      <p:pic>
        <p:nvPicPr>
          <p:cNvPr id="7" name="Picture 6"/>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482508" y="2371602"/>
            <a:ext cx="891623" cy="891623"/>
          </a:xfrm>
          <a:prstGeom prst="rect">
            <a:avLst/>
          </a:prstGeom>
        </p:spPr>
      </p:pic>
      <p:pic>
        <p:nvPicPr>
          <p:cNvPr id="8" name="Picture 7"/>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7047139" y="2398626"/>
            <a:ext cx="891623" cy="891623"/>
          </a:xfrm>
          <a:prstGeom prst="rect">
            <a:avLst/>
          </a:prstGeom>
        </p:spPr>
      </p:pic>
      <p:sp>
        <p:nvSpPr>
          <p:cNvPr id="38" name="Rectangle 37"/>
          <p:cNvSpPr/>
          <p:nvPr/>
        </p:nvSpPr>
        <p:spPr bwMode="auto">
          <a:xfrm>
            <a:off x="883" y="496"/>
            <a:ext cx="12434711" cy="158778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Title 1"/>
          <p:cNvSpPr txBox="1">
            <a:spLocks/>
          </p:cNvSpPr>
          <p:nvPr/>
        </p:nvSpPr>
        <p:spPr>
          <a:xfrm>
            <a:off x="275481" y="295731"/>
            <a:ext cx="11887878" cy="917444"/>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65">
              <a:defRPr/>
            </a:pPr>
            <a:r>
              <a:rPr lang="en-US" sz="4080" spc="-104">
                <a:gradFill>
                  <a:gsLst>
                    <a:gs pos="1250">
                      <a:srgbClr val="FFFFFF"/>
                    </a:gs>
                    <a:gs pos="100000">
                      <a:srgbClr val="FFFFFF"/>
                    </a:gs>
                  </a:gsLst>
                  <a:lin ang="5400000" scaled="0"/>
                </a:gradFill>
                <a:latin typeface="Segoe UI Light"/>
              </a:rPr>
              <a:t>Build apps faster and easier - IAAS</a:t>
            </a:r>
            <a:endParaRPr lang="en-US" sz="4080" spc="-30">
              <a:gradFill>
                <a:gsLst>
                  <a:gs pos="1250">
                    <a:srgbClr val="FFFFFF"/>
                  </a:gs>
                  <a:gs pos="100000">
                    <a:srgbClr val="FFFFFF"/>
                  </a:gs>
                </a:gsLst>
                <a:lin ang="5400000" scaled="0"/>
              </a:gradFill>
              <a:latin typeface="Segoe UI Light"/>
            </a:endParaRPr>
          </a:p>
        </p:txBody>
      </p:sp>
      <p:sp>
        <p:nvSpPr>
          <p:cNvPr id="46" name="Freeform 13"/>
          <p:cNvSpPr>
            <a:spLocks noChangeAspect="1" noEditPoints="1"/>
          </p:cNvSpPr>
          <p:nvPr/>
        </p:nvSpPr>
        <p:spPr bwMode="auto">
          <a:xfrm>
            <a:off x="10619354" y="308769"/>
            <a:ext cx="818871" cy="56710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cxnSp>
        <p:nvCxnSpPr>
          <p:cNvPr id="12" name="Straight Connector 11"/>
          <p:cNvCxnSpPr/>
          <p:nvPr/>
        </p:nvCxnSpPr>
        <p:spPr>
          <a:xfrm>
            <a:off x="1210352"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847872"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441675"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9006334"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656468" y="2381045"/>
            <a:ext cx="0" cy="1345217"/>
          </a:xfrm>
          <a:prstGeom prst="line">
            <a:avLst/>
          </a:prstGeom>
          <a:ln w="28575">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6237924" y="2381045"/>
            <a:ext cx="0" cy="1345217"/>
          </a:xfrm>
          <a:prstGeom prst="line">
            <a:avLst/>
          </a:prstGeom>
          <a:ln w="28575">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App Innovation</a:t>
            </a:r>
          </a:p>
        </p:txBody>
      </p:sp>
    </p:spTree>
    <p:extLst>
      <p:ext uri="{BB962C8B-B14F-4D97-AF65-F5344CB8AC3E}">
        <p14:creationId xmlns:p14="http://schemas.microsoft.com/office/powerpoint/2010/main" val="140282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bwMode="auto">
          <a:xfrm>
            <a:off x="883" y="1549855"/>
            <a:ext cx="12434710" cy="5444670"/>
          </a:xfrm>
          <a:prstGeom prst="rect">
            <a:avLst/>
          </a:prstGeom>
          <a:solidFill>
            <a:schemeClr val="bg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1632" b="1" kern="0">
              <a:gradFill>
                <a:gsLst>
                  <a:gs pos="0">
                    <a:srgbClr val="FFFFFF"/>
                  </a:gs>
                  <a:gs pos="100000">
                    <a:srgbClr val="FFFFFF"/>
                  </a:gs>
                </a:gsLst>
                <a:lin ang="5400000" scaled="0"/>
              </a:gradFill>
              <a:latin typeface="Segoe UI Light"/>
            </a:endParaRPr>
          </a:p>
        </p:txBody>
      </p:sp>
      <p:sp>
        <p:nvSpPr>
          <p:cNvPr id="45" name="Rectangle 44"/>
          <p:cNvSpPr/>
          <p:nvPr/>
        </p:nvSpPr>
        <p:spPr bwMode="auto">
          <a:xfrm>
            <a:off x="1081678" y="1883516"/>
            <a:ext cx="7672969" cy="237710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1632" b="1" kern="0">
              <a:gradFill>
                <a:gsLst>
                  <a:gs pos="0">
                    <a:srgbClr val="FFFFFF"/>
                  </a:gs>
                  <a:gs pos="100000">
                    <a:srgbClr val="FFFFFF"/>
                  </a:gs>
                </a:gsLst>
                <a:lin ang="5400000" scaled="0"/>
              </a:gradFill>
              <a:latin typeface="Segoe UI Light"/>
            </a:endParaRPr>
          </a:p>
        </p:txBody>
      </p:sp>
      <p:sp>
        <p:nvSpPr>
          <p:cNvPr id="39" name="Rectangle 38"/>
          <p:cNvSpPr/>
          <p:nvPr/>
        </p:nvSpPr>
        <p:spPr bwMode="auto">
          <a:xfrm>
            <a:off x="8814205" y="1890195"/>
            <a:ext cx="2523387" cy="2377102"/>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1632" b="1" kern="0">
              <a:gradFill>
                <a:gsLst>
                  <a:gs pos="0">
                    <a:srgbClr val="FFFFFF"/>
                  </a:gs>
                  <a:gs pos="100000">
                    <a:srgbClr val="FFFFFF"/>
                  </a:gs>
                </a:gsLst>
                <a:lin ang="5400000" scaled="0"/>
              </a:gradFill>
              <a:latin typeface="Segoe UI Light"/>
            </a:endParaRPr>
          </a:p>
        </p:txBody>
      </p:sp>
      <p:sp>
        <p:nvSpPr>
          <p:cNvPr id="42" name="TextBox 41"/>
          <p:cNvSpPr txBox="1"/>
          <p:nvPr/>
        </p:nvSpPr>
        <p:spPr>
          <a:xfrm>
            <a:off x="6605412" y="3495453"/>
            <a:ext cx="1791393" cy="577852"/>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a:latin typeface="Segoe UI"/>
              </a:rPr>
              <a:t>Logic apps</a:t>
            </a:r>
            <a:endParaRPr lang="x-none">
              <a:latin typeface="Segoe UI"/>
            </a:endParaRPr>
          </a:p>
        </p:txBody>
      </p:sp>
      <p:sp>
        <p:nvSpPr>
          <p:cNvPr id="43" name="TextBox 42"/>
          <p:cNvSpPr txBox="1"/>
          <p:nvPr/>
        </p:nvSpPr>
        <p:spPr>
          <a:xfrm>
            <a:off x="1406779" y="3495453"/>
            <a:ext cx="1889488" cy="577852"/>
          </a:xfrm>
          <a:prstGeom prst="rect">
            <a:avLst/>
          </a:prstGeom>
          <a:noFill/>
        </p:spPr>
        <p:txBody>
          <a:bodyPr wrap="none" lIns="274203" tIns="146241" rIns="274203" bIns="146241"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029">
              <a:spcAft>
                <a:spcPts val="0"/>
              </a:spcAft>
              <a:defRPr/>
            </a:pPr>
            <a:r>
              <a:rPr lang="en-US" sz="2000" kern="0">
                <a:gradFill>
                  <a:gsLst>
                    <a:gs pos="0">
                      <a:srgbClr val="FFFFFF"/>
                    </a:gs>
                    <a:gs pos="100000">
                      <a:srgbClr val="FFFFFF"/>
                    </a:gs>
                  </a:gsLst>
                  <a:lin ang="5400000" scaled="0"/>
                </a:gradFill>
                <a:latin typeface="Segoe UI"/>
              </a:rPr>
              <a:t>App service</a:t>
            </a:r>
            <a:endParaRPr lang="x-none" sz="2000" kern="0">
              <a:gradFill>
                <a:gsLst>
                  <a:gs pos="0">
                    <a:srgbClr val="FFFFFF"/>
                  </a:gs>
                  <a:gs pos="100000">
                    <a:srgbClr val="FFFFFF"/>
                  </a:gs>
                </a:gsLst>
                <a:lin ang="5400000" scaled="0"/>
              </a:gradFill>
              <a:latin typeface="Segoe UI"/>
            </a:endParaRPr>
          </a:p>
        </p:txBody>
      </p:sp>
      <p:sp>
        <p:nvSpPr>
          <p:cNvPr id="44" name="TextBox 43"/>
          <p:cNvSpPr txBox="1"/>
          <p:nvPr/>
        </p:nvSpPr>
        <p:spPr>
          <a:xfrm>
            <a:off x="4093564" y="3495453"/>
            <a:ext cx="1665504" cy="577852"/>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a:latin typeface="Segoe UI"/>
              </a:rPr>
              <a:t>Functions</a:t>
            </a:r>
          </a:p>
        </p:txBody>
      </p:sp>
      <p:sp>
        <p:nvSpPr>
          <p:cNvPr id="47" name="TextBox 46"/>
          <p:cNvSpPr txBox="1"/>
          <p:nvPr/>
        </p:nvSpPr>
        <p:spPr>
          <a:xfrm>
            <a:off x="6246077" y="4635785"/>
            <a:ext cx="2523387" cy="696839"/>
          </a:xfrm>
          <a:prstGeom prst="rect">
            <a:avLst/>
          </a:prstGeom>
          <a:noFill/>
        </p:spPr>
        <p:txBody>
          <a:bodyPr wrap="square" lIns="93247" tIns="93247" rIns="93247" bIns="93247"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32029">
              <a:defRPr/>
            </a:pPr>
            <a:r>
              <a:rPr lang="en-NZ" sz="1800">
                <a:gradFill>
                  <a:gsLst>
                    <a:gs pos="0">
                      <a:srgbClr val="505050"/>
                    </a:gs>
                    <a:gs pos="100000">
                      <a:srgbClr val="505050"/>
                    </a:gs>
                  </a:gsLst>
                  <a:lin ang="5400000" scaled="0"/>
                </a:gradFill>
                <a:latin typeface="Segoe UI"/>
              </a:rPr>
              <a:t>Workflow &amp; Integration</a:t>
            </a:r>
            <a:endParaRPr lang="x-none" sz="1800">
              <a:gradFill>
                <a:gsLst>
                  <a:gs pos="0">
                    <a:srgbClr val="505050"/>
                  </a:gs>
                  <a:gs pos="100000">
                    <a:srgbClr val="505050"/>
                  </a:gs>
                </a:gsLst>
                <a:lin ang="5400000" scaled="0"/>
              </a:gradFill>
              <a:latin typeface="Segoe UI"/>
            </a:endParaRPr>
          </a:p>
        </p:txBody>
      </p:sp>
      <p:sp>
        <p:nvSpPr>
          <p:cNvPr id="49" name="TextBox 48"/>
          <p:cNvSpPr txBox="1"/>
          <p:nvPr/>
        </p:nvSpPr>
        <p:spPr>
          <a:xfrm>
            <a:off x="3668893" y="4635785"/>
            <a:ext cx="2523387" cy="442578"/>
          </a:xfrm>
          <a:prstGeom prst="rect">
            <a:avLst/>
          </a:prstGeom>
          <a:noFill/>
        </p:spPr>
        <p:txBody>
          <a:bodyPr wrap="square" lIns="93247" tIns="93247" rIns="93247" bIns="93247"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32029">
              <a:defRPr/>
            </a:pPr>
            <a:r>
              <a:rPr lang="en-US" sz="1800" err="1">
                <a:gradFill>
                  <a:gsLst>
                    <a:gs pos="0">
                      <a:srgbClr val="505050"/>
                    </a:gs>
                    <a:gs pos="100000">
                      <a:srgbClr val="505050"/>
                    </a:gs>
                  </a:gsLst>
                  <a:lin ang="5400000" scaled="0"/>
                </a:gradFill>
                <a:latin typeface="Segoe UI"/>
              </a:rPr>
              <a:t>Serverless</a:t>
            </a:r>
            <a:r>
              <a:rPr lang="en-US" sz="1800">
                <a:gradFill>
                  <a:gsLst>
                    <a:gs pos="0">
                      <a:srgbClr val="505050"/>
                    </a:gs>
                    <a:gs pos="100000">
                      <a:srgbClr val="505050"/>
                    </a:gs>
                  </a:gsLst>
                  <a:lin ang="5400000" scaled="0"/>
                </a:gradFill>
                <a:latin typeface="Segoe UI"/>
              </a:rPr>
              <a:t> compute</a:t>
            </a:r>
            <a:endParaRPr lang="x-none" sz="1800">
              <a:gradFill>
                <a:gsLst>
                  <a:gs pos="0">
                    <a:srgbClr val="505050"/>
                  </a:gs>
                  <a:gs pos="100000">
                    <a:srgbClr val="505050"/>
                  </a:gs>
                </a:gsLst>
                <a:lin ang="5400000" scaled="0"/>
              </a:gradFill>
              <a:latin typeface="Segoe UI"/>
            </a:endParaRPr>
          </a:p>
        </p:txBody>
      </p:sp>
      <p:sp>
        <p:nvSpPr>
          <p:cNvPr id="50" name="TextBox 49"/>
          <p:cNvSpPr txBox="1"/>
          <p:nvPr/>
        </p:nvSpPr>
        <p:spPr>
          <a:xfrm>
            <a:off x="1091709" y="4635785"/>
            <a:ext cx="2523387" cy="696839"/>
          </a:xfrm>
          <a:prstGeom prst="rect">
            <a:avLst/>
          </a:prstGeom>
          <a:noFill/>
        </p:spPr>
        <p:txBody>
          <a:bodyPr wrap="square" lIns="93247" tIns="93247" rIns="93247" bIns="93247" rtlCol="0" anchor="t" anchorCtr="0">
            <a:spAutoFit/>
          </a:bodyPr>
          <a:lstStyle/>
          <a:p>
            <a:pPr algn="ctr" defTabSz="932029">
              <a:lnSpc>
                <a:spcPct val="90000"/>
              </a:lnSpc>
              <a:defRPr/>
            </a:pPr>
            <a:r>
              <a:rPr lang="en-NZ" kern="0">
                <a:gradFill>
                  <a:gsLst>
                    <a:gs pos="0">
                      <a:srgbClr val="505050"/>
                    </a:gs>
                    <a:gs pos="100000">
                      <a:srgbClr val="505050"/>
                    </a:gs>
                  </a:gsLst>
                  <a:lin ang="5400000" scaled="0"/>
                </a:gradFill>
                <a:latin typeface="Segoe UI"/>
                <a:cs typeface="Segoe UI Light" panose="020B0502040204020203" pitchFamily="34" charset="0"/>
              </a:rPr>
              <a:t>Web, mobile, and API apps</a:t>
            </a:r>
            <a:endParaRPr lang="x-none" kern="0">
              <a:gradFill>
                <a:gsLst>
                  <a:gs pos="0">
                    <a:srgbClr val="505050"/>
                  </a:gs>
                  <a:gs pos="100000">
                    <a:srgbClr val="505050"/>
                  </a:gs>
                </a:gsLst>
                <a:lin ang="5400000" scaled="0"/>
              </a:gradFill>
              <a:latin typeface="Segoe UI"/>
              <a:cs typeface="Segoe UI Light" panose="020B0502040204020203" pitchFamily="34" charset="0"/>
            </a:endParaRPr>
          </a:p>
        </p:txBody>
      </p:sp>
      <p:sp>
        <p:nvSpPr>
          <p:cNvPr id="52" name="Rectangle 51"/>
          <p:cNvSpPr/>
          <p:nvPr/>
        </p:nvSpPr>
        <p:spPr bwMode="auto">
          <a:xfrm>
            <a:off x="1089829" y="5843342"/>
            <a:ext cx="2523387" cy="7577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Web and mobile</a:t>
            </a:r>
          </a:p>
        </p:txBody>
      </p:sp>
      <p:sp>
        <p:nvSpPr>
          <p:cNvPr id="53" name="Rectangle 52"/>
          <p:cNvSpPr/>
          <p:nvPr/>
        </p:nvSpPr>
        <p:spPr bwMode="auto">
          <a:xfrm>
            <a:off x="3664621" y="5843342"/>
            <a:ext cx="2523387" cy="7577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Event-driven microservices</a:t>
            </a:r>
          </a:p>
        </p:txBody>
      </p:sp>
      <p:sp>
        <p:nvSpPr>
          <p:cNvPr id="54" name="Rectangle 53"/>
          <p:cNvSpPr/>
          <p:nvPr/>
        </p:nvSpPr>
        <p:spPr bwMode="auto">
          <a:xfrm>
            <a:off x="6239413" y="5843342"/>
            <a:ext cx="2523387" cy="7577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LOB integration and hybrid apps</a:t>
            </a:r>
          </a:p>
        </p:txBody>
      </p:sp>
      <p:sp>
        <p:nvSpPr>
          <p:cNvPr id="55" name="TextBox 54"/>
          <p:cNvSpPr txBox="1"/>
          <p:nvPr/>
        </p:nvSpPr>
        <p:spPr>
          <a:xfrm>
            <a:off x="8823260" y="4635785"/>
            <a:ext cx="2523387" cy="442578"/>
          </a:xfrm>
          <a:prstGeom prst="rect">
            <a:avLst/>
          </a:prstGeom>
          <a:noFill/>
        </p:spPr>
        <p:txBody>
          <a:bodyPr wrap="square" lIns="93247" tIns="93247" rIns="93247" bIns="93247" rtlCol="0" anchor="t" anchorCtr="0">
            <a:spAutoFit/>
          </a:bodyPr>
          <a:lstStyle>
            <a:defPPr>
              <a:defRPr lang="en-US"/>
            </a:defPPr>
            <a:lvl1pPr algn="ctr" defTabSz="932208">
              <a:lnSpc>
                <a:spcPct val="90000"/>
              </a:lnSpc>
              <a:defRPr sz="1600" kern="0">
                <a:gradFill>
                  <a:gsLst>
                    <a:gs pos="0">
                      <a:schemeClr val="tx1"/>
                    </a:gs>
                    <a:gs pos="100000">
                      <a:schemeClr val="tx1"/>
                    </a:gs>
                  </a:gsLst>
                  <a:lin ang="5400000" scaled="0"/>
                </a:gradFill>
                <a:cs typeface="Segoe UI Light" panose="020B0502040204020203" pitchFamily="34" charset="0"/>
              </a:defRPr>
            </a:lvl1pPr>
          </a:lstStyle>
          <a:p>
            <a:pPr defTabSz="932029">
              <a:defRPr/>
            </a:pPr>
            <a:r>
              <a:rPr lang="en-NZ" sz="1800">
                <a:gradFill>
                  <a:gsLst>
                    <a:gs pos="0">
                      <a:srgbClr val="505050"/>
                    </a:gs>
                    <a:gs pos="100000">
                      <a:srgbClr val="505050"/>
                    </a:gs>
                  </a:gsLst>
                  <a:lin ang="5400000" scaled="0"/>
                </a:gradFill>
                <a:latin typeface="Segoe UI"/>
              </a:rPr>
              <a:t>Self-service</a:t>
            </a:r>
          </a:p>
        </p:txBody>
      </p:sp>
      <p:sp>
        <p:nvSpPr>
          <p:cNvPr id="56" name="Rectangle 55"/>
          <p:cNvSpPr/>
          <p:nvPr/>
        </p:nvSpPr>
        <p:spPr bwMode="auto">
          <a:xfrm>
            <a:off x="8814205" y="5843342"/>
            <a:ext cx="2523387" cy="7577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t" anchorCtr="0" compatLnSpc="1">
            <a:prstTxWarp prst="textNoShape">
              <a:avLst/>
            </a:prstTxWarp>
          </a:bodyPr>
          <a:lstStyle/>
          <a:p>
            <a:pPr algn="ctr" defTabSz="931935" fontAlgn="base">
              <a:spcBef>
                <a:spcPct val="0"/>
              </a:spcBef>
              <a:spcAft>
                <a:spcPct val="0"/>
              </a:spcAft>
              <a:defRPr/>
            </a:pPr>
            <a:r>
              <a:rPr lang="en-US" sz="1836">
                <a:solidFill>
                  <a:srgbClr val="00188F"/>
                </a:solidFill>
                <a:latin typeface="Segoe UI"/>
              </a:rPr>
              <a:t>No-code apps</a:t>
            </a:r>
          </a:p>
        </p:txBody>
      </p:sp>
      <p:sp>
        <p:nvSpPr>
          <p:cNvPr id="66" name="TextBox 65"/>
          <p:cNvSpPr txBox="1"/>
          <p:nvPr/>
        </p:nvSpPr>
        <p:spPr>
          <a:xfrm>
            <a:off x="9127887" y="3495453"/>
            <a:ext cx="1896027" cy="577852"/>
          </a:xfrm>
          <a:prstGeom prst="rect">
            <a:avLst/>
          </a:prstGeom>
          <a:noFill/>
        </p:spPr>
        <p:txBody>
          <a:bodyPr wrap="none" lIns="274203" tIns="146241" rIns="274203" bIns="146241"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932029">
              <a:defRPr/>
            </a:pPr>
            <a:r>
              <a:rPr lang="en-US">
                <a:latin typeface="Segoe UI"/>
              </a:rPr>
              <a:t>Power apps</a:t>
            </a:r>
          </a:p>
        </p:txBody>
      </p:sp>
      <p:sp>
        <p:nvSpPr>
          <p:cNvPr id="78" name="Freeform 5"/>
          <p:cNvSpPr>
            <a:spLocks noChangeAspect="1" noEditPoints="1"/>
          </p:cNvSpPr>
          <p:nvPr/>
        </p:nvSpPr>
        <p:spPr bwMode="auto">
          <a:xfrm>
            <a:off x="9637024" y="2576447"/>
            <a:ext cx="897548" cy="745978"/>
          </a:xfrm>
          <a:custGeom>
            <a:avLst/>
            <a:gdLst>
              <a:gd name="T0" fmla="*/ 778 w 1914"/>
              <a:gd name="T1" fmla="*/ 1301 h 1588"/>
              <a:gd name="T2" fmla="*/ 941 w 1914"/>
              <a:gd name="T3" fmla="*/ 1409 h 1588"/>
              <a:gd name="T4" fmla="*/ 833 w 1914"/>
              <a:gd name="T5" fmla="*/ 1572 h 1588"/>
              <a:gd name="T6" fmla="*/ 670 w 1914"/>
              <a:gd name="T7" fmla="*/ 1465 h 1588"/>
              <a:gd name="T8" fmla="*/ 724 w 1914"/>
              <a:gd name="T9" fmla="*/ 1355 h 1588"/>
              <a:gd name="T10" fmla="*/ 867 w 1914"/>
              <a:gd name="T11" fmla="*/ 1212 h 1588"/>
              <a:gd name="T12" fmla="*/ 975 w 1914"/>
              <a:gd name="T13" fmla="*/ 1376 h 1588"/>
              <a:gd name="T14" fmla="*/ 1138 w 1914"/>
              <a:gd name="T15" fmla="*/ 1268 h 1588"/>
              <a:gd name="T16" fmla="*/ 1030 w 1914"/>
              <a:gd name="T17" fmla="*/ 1104 h 1588"/>
              <a:gd name="T18" fmla="*/ 921 w 1914"/>
              <a:gd name="T19" fmla="*/ 1158 h 1588"/>
              <a:gd name="T20" fmla="*/ 1061 w 1914"/>
              <a:gd name="T21" fmla="*/ 1018 h 1588"/>
              <a:gd name="T22" fmla="*/ 1169 w 1914"/>
              <a:gd name="T23" fmla="*/ 1181 h 1588"/>
              <a:gd name="T24" fmla="*/ 1332 w 1914"/>
              <a:gd name="T25" fmla="*/ 1073 h 1588"/>
              <a:gd name="T26" fmla="*/ 1225 w 1914"/>
              <a:gd name="T27" fmla="*/ 910 h 1588"/>
              <a:gd name="T28" fmla="*/ 1115 w 1914"/>
              <a:gd name="T29" fmla="*/ 964 h 1588"/>
              <a:gd name="T30" fmla="*/ 867 w 1914"/>
              <a:gd name="T31" fmla="*/ 824 h 1588"/>
              <a:gd name="T32" fmla="*/ 975 w 1914"/>
              <a:gd name="T33" fmla="*/ 987 h 1588"/>
              <a:gd name="T34" fmla="*/ 1138 w 1914"/>
              <a:gd name="T35" fmla="*/ 879 h 1588"/>
              <a:gd name="T36" fmla="*/ 1031 w 1914"/>
              <a:gd name="T37" fmla="*/ 716 h 1588"/>
              <a:gd name="T38" fmla="*/ 921 w 1914"/>
              <a:gd name="T39" fmla="*/ 770 h 1588"/>
              <a:gd name="T40" fmla="*/ 670 w 1914"/>
              <a:gd name="T41" fmla="*/ 626 h 1588"/>
              <a:gd name="T42" fmla="*/ 778 w 1914"/>
              <a:gd name="T43" fmla="*/ 790 h 1588"/>
              <a:gd name="T44" fmla="*/ 941 w 1914"/>
              <a:gd name="T45" fmla="*/ 682 h 1588"/>
              <a:gd name="T46" fmla="*/ 833 w 1914"/>
              <a:gd name="T47" fmla="*/ 519 h 1588"/>
              <a:gd name="T48" fmla="*/ 724 w 1914"/>
              <a:gd name="T49" fmla="*/ 573 h 1588"/>
              <a:gd name="T50" fmla="*/ 1914 w 1914"/>
              <a:gd name="T51" fmla="*/ 878 h 1588"/>
              <a:gd name="T52" fmla="*/ 1481 w 1914"/>
              <a:gd name="T53" fmla="*/ 1113 h 1588"/>
              <a:gd name="T54" fmla="*/ 1481 w 1914"/>
              <a:gd name="T55" fmla="*/ 983 h 1588"/>
              <a:gd name="T56" fmla="*/ 1784 w 1914"/>
              <a:gd name="T57" fmla="*/ 878 h 1588"/>
              <a:gd name="T58" fmla="*/ 1679 w 1914"/>
              <a:gd name="T59" fmla="*/ 130 h 1588"/>
              <a:gd name="T60" fmla="*/ 130 w 1914"/>
              <a:gd name="T61" fmla="*/ 235 h 1588"/>
              <a:gd name="T62" fmla="*/ 235 w 1914"/>
              <a:gd name="T63" fmla="*/ 983 h 1588"/>
              <a:gd name="T64" fmla="*/ 319 w 1914"/>
              <a:gd name="T65" fmla="*/ 976 h 1588"/>
              <a:gd name="T66" fmla="*/ 542 w 1914"/>
              <a:gd name="T67" fmla="*/ 752 h 1588"/>
              <a:gd name="T68" fmla="*/ 903 w 1914"/>
              <a:gd name="T69" fmla="*/ 976 h 1588"/>
              <a:gd name="T70" fmla="*/ 679 w 1914"/>
              <a:gd name="T71" fmla="*/ 1336 h 1588"/>
              <a:gd name="T72" fmla="*/ 319 w 1914"/>
              <a:gd name="T73" fmla="*/ 1113 h 1588"/>
              <a:gd name="T74" fmla="*/ 0 w 1914"/>
              <a:gd name="T75" fmla="*/ 878 h 1588"/>
              <a:gd name="T76" fmla="*/ 235 w 1914"/>
              <a:gd name="T77" fmla="*/ 0 h 1588"/>
              <a:gd name="T78" fmla="*/ 1914 w 1914"/>
              <a:gd name="T79" fmla="*/ 235 h 1588"/>
              <a:gd name="T80" fmla="*/ 583 w 1914"/>
              <a:gd name="T81" fmla="*/ 1180 h 1588"/>
              <a:gd name="T82" fmla="*/ 747 w 1914"/>
              <a:gd name="T83" fmla="*/ 1072 h 1588"/>
              <a:gd name="T84" fmla="*/ 639 w 1914"/>
              <a:gd name="T85" fmla="*/ 909 h 1588"/>
              <a:gd name="T86" fmla="*/ 529 w 1914"/>
              <a:gd name="T87" fmla="*/ 963 h 1588"/>
              <a:gd name="T88" fmla="*/ 475 w 1914"/>
              <a:gd name="T89" fmla="*/ 1072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4" h="1588">
                <a:moveTo>
                  <a:pt x="724" y="1355"/>
                </a:moveTo>
                <a:cubicBezTo>
                  <a:pt x="778" y="1301"/>
                  <a:pt x="778" y="1301"/>
                  <a:pt x="778" y="1301"/>
                </a:cubicBezTo>
                <a:cubicBezTo>
                  <a:pt x="793" y="1286"/>
                  <a:pt x="818" y="1286"/>
                  <a:pt x="833" y="1301"/>
                </a:cubicBezTo>
                <a:cubicBezTo>
                  <a:pt x="941" y="1409"/>
                  <a:pt x="941" y="1409"/>
                  <a:pt x="941" y="1409"/>
                </a:cubicBezTo>
                <a:cubicBezTo>
                  <a:pt x="956" y="1424"/>
                  <a:pt x="956" y="1449"/>
                  <a:pt x="941" y="1465"/>
                </a:cubicBezTo>
                <a:cubicBezTo>
                  <a:pt x="833" y="1572"/>
                  <a:pt x="833" y="1572"/>
                  <a:pt x="833" y="1572"/>
                </a:cubicBezTo>
                <a:cubicBezTo>
                  <a:pt x="818" y="1588"/>
                  <a:pt x="793" y="1588"/>
                  <a:pt x="778" y="1572"/>
                </a:cubicBezTo>
                <a:cubicBezTo>
                  <a:pt x="670" y="1465"/>
                  <a:pt x="670" y="1465"/>
                  <a:pt x="670" y="1465"/>
                </a:cubicBezTo>
                <a:cubicBezTo>
                  <a:pt x="655" y="1449"/>
                  <a:pt x="655" y="1424"/>
                  <a:pt x="670" y="1409"/>
                </a:cubicBezTo>
                <a:cubicBezTo>
                  <a:pt x="724" y="1355"/>
                  <a:pt x="724" y="1355"/>
                  <a:pt x="724" y="1355"/>
                </a:cubicBezTo>
                <a:close/>
                <a:moveTo>
                  <a:pt x="921" y="1158"/>
                </a:moveTo>
                <a:cubicBezTo>
                  <a:pt x="867" y="1212"/>
                  <a:pt x="867" y="1212"/>
                  <a:pt x="867" y="1212"/>
                </a:cubicBezTo>
                <a:cubicBezTo>
                  <a:pt x="851" y="1228"/>
                  <a:pt x="851" y="1253"/>
                  <a:pt x="867" y="1268"/>
                </a:cubicBezTo>
                <a:cubicBezTo>
                  <a:pt x="975" y="1376"/>
                  <a:pt x="975" y="1376"/>
                  <a:pt x="975" y="1376"/>
                </a:cubicBezTo>
                <a:cubicBezTo>
                  <a:pt x="990" y="1391"/>
                  <a:pt x="1015" y="1391"/>
                  <a:pt x="1030" y="1376"/>
                </a:cubicBezTo>
                <a:cubicBezTo>
                  <a:pt x="1138" y="1268"/>
                  <a:pt x="1138" y="1268"/>
                  <a:pt x="1138" y="1268"/>
                </a:cubicBezTo>
                <a:cubicBezTo>
                  <a:pt x="1153" y="1253"/>
                  <a:pt x="1153" y="1228"/>
                  <a:pt x="1138" y="1212"/>
                </a:cubicBezTo>
                <a:cubicBezTo>
                  <a:pt x="1030" y="1104"/>
                  <a:pt x="1030" y="1104"/>
                  <a:pt x="1030" y="1104"/>
                </a:cubicBezTo>
                <a:cubicBezTo>
                  <a:pt x="1015" y="1089"/>
                  <a:pt x="990" y="1089"/>
                  <a:pt x="975" y="1104"/>
                </a:cubicBezTo>
                <a:cubicBezTo>
                  <a:pt x="921" y="1158"/>
                  <a:pt x="921" y="1158"/>
                  <a:pt x="921" y="1158"/>
                </a:cubicBezTo>
                <a:close/>
                <a:moveTo>
                  <a:pt x="1115" y="964"/>
                </a:moveTo>
                <a:cubicBezTo>
                  <a:pt x="1061" y="1018"/>
                  <a:pt x="1061" y="1018"/>
                  <a:pt x="1061" y="1018"/>
                </a:cubicBezTo>
                <a:cubicBezTo>
                  <a:pt x="1046" y="1033"/>
                  <a:pt x="1046" y="1058"/>
                  <a:pt x="1061" y="1073"/>
                </a:cubicBezTo>
                <a:cubicBezTo>
                  <a:pt x="1169" y="1181"/>
                  <a:pt x="1169" y="1181"/>
                  <a:pt x="1169" y="1181"/>
                </a:cubicBezTo>
                <a:cubicBezTo>
                  <a:pt x="1184" y="1196"/>
                  <a:pt x="1209" y="1196"/>
                  <a:pt x="1225" y="1181"/>
                </a:cubicBezTo>
                <a:cubicBezTo>
                  <a:pt x="1332" y="1073"/>
                  <a:pt x="1332" y="1073"/>
                  <a:pt x="1332" y="1073"/>
                </a:cubicBezTo>
                <a:cubicBezTo>
                  <a:pt x="1348" y="1058"/>
                  <a:pt x="1348" y="1033"/>
                  <a:pt x="1332" y="1018"/>
                </a:cubicBezTo>
                <a:cubicBezTo>
                  <a:pt x="1225" y="910"/>
                  <a:pt x="1225" y="910"/>
                  <a:pt x="1225" y="910"/>
                </a:cubicBezTo>
                <a:cubicBezTo>
                  <a:pt x="1209" y="895"/>
                  <a:pt x="1184" y="895"/>
                  <a:pt x="1169" y="910"/>
                </a:cubicBezTo>
                <a:cubicBezTo>
                  <a:pt x="1115" y="964"/>
                  <a:pt x="1115" y="964"/>
                  <a:pt x="1115" y="964"/>
                </a:cubicBezTo>
                <a:close/>
                <a:moveTo>
                  <a:pt x="921" y="770"/>
                </a:moveTo>
                <a:cubicBezTo>
                  <a:pt x="867" y="824"/>
                  <a:pt x="867" y="824"/>
                  <a:pt x="867" y="824"/>
                </a:cubicBezTo>
                <a:cubicBezTo>
                  <a:pt x="852" y="839"/>
                  <a:pt x="852" y="864"/>
                  <a:pt x="867" y="879"/>
                </a:cubicBezTo>
                <a:cubicBezTo>
                  <a:pt x="975" y="987"/>
                  <a:pt x="975" y="987"/>
                  <a:pt x="975" y="987"/>
                </a:cubicBezTo>
                <a:cubicBezTo>
                  <a:pt x="990" y="1002"/>
                  <a:pt x="1015" y="1002"/>
                  <a:pt x="1031" y="987"/>
                </a:cubicBezTo>
                <a:cubicBezTo>
                  <a:pt x="1138" y="879"/>
                  <a:pt x="1138" y="879"/>
                  <a:pt x="1138" y="879"/>
                </a:cubicBezTo>
                <a:cubicBezTo>
                  <a:pt x="1154" y="864"/>
                  <a:pt x="1154" y="839"/>
                  <a:pt x="1138" y="824"/>
                </a:cubicBezTo>
                <a:cubicBezTo>
                  <a:pt x="1031" y="716"/>
                  <a:pt x="1031" y="716"/>
                  <a:pt x="1031" y="716"/>
                </a:cubicBezTo>
                <a:cubicBezTo>
                  <a:pt x="1015" y="701"/>
                  <a:pt x="990" y="701"/>
                  <a:pt x="975" y="716"/>
                </a:cubicBezTo>
                <a:cubicBezTo>
                  <a:pt x="921" y="770"/>
                  <a:pt x="921" y="770"/>
                  <a:pt x="921" y="770"/>
                </a:cubicBezTo>
                <a:close/>
                <a:moveTo>
                  <a:pt x="724" y="573"/>
                </a:moveTo>
                <a:cubicBezTo>
                  <a:pt x="670" y="626"/>
                  <a:pt x="670" y="626"/>
                  <a:pt x="670" y="626"/>
                </a:cubicBezTo>
                <a:cubicBezTo>
                  <a:pt x="655" y="642"/>
                  <a:pt x="655" y="667"/>
                  <a:pt x="670" y="682"/>
                </a:cubicBezTo>
                <a:cubicBezTo>
                  <a:pt x="778" y="790"/>
                  <a:pt x="778" y="790"/>
                  <a:pt x="778" y="790"/>
                </a:cubicBezTo>
                <a:cubicBezTo>
                  <a:pt x="793" y="805"/>
                  <a:pt x="818" y="805"/>
                  <a:pt x="833" y="790"/>
                </a:cubicBezTo>
                <a:cubicBezTo>
                  <a:pt x="941" y="682"/>
                  <a:pt x="941" y="682"/>
                  <a:pt x="941" y="682"/>
                </a:cubicBezTo>
                <a:cubicBezTo>
                  <a:pt x="956" y="667"/>
                  <a:pt x="956" y="642"/>
                  <a:pt x="941" y="626"/>
                </a:cubicBezTo>
                <a:cubicBezTo>
                  <a:pt x="833" y="519"/>
                  <a:pt x="833" y="519"/>
                  <a:pt x="833" y="519"/>
                </a:cubicBezTo>
                <a:cubicBezTo>
                  <a:pt x="818" y="503"/>
                  <a:pt x="793" y="503"/>
                  <a:pt x="778" y="519"/>
                </a:cubicBezTo>
                <a:cubicBezTo>
                  <a:pt x="724" y="573"/>
                  <a:pt x="724" y="573"/>
                  <a:pt x="724" y="573"/>
                </a:cubicBezTo>
                <a:close/>
                <a:moveTo>
                  <a:pt x="1914" y="235"/>
                </a:moveTo>
                <a:cubicBezTo>
                  <a:pt x="1914" y="878"/>
                  <a:pt x="1914" y="878"/>
                  <a:pt x="1914" y="878"/>
                </a:cubicBezTo>
                <a:cubicBezTo>
                  <a:pt x="1914" y="1008"/>
                  <a:pt x="1808" y="1113"/>
                  <a:pt x="1679" y="1113"/>
                </a:cubicBezTo>
                <a:cubicBezTo>
                  <a:pt x="1481" y="1113"/>
                  <a:pt x="1481" y="1113"/>
                  <a:pt x="1481" y="1113"/>
                </a:cubicBezTo>
                <a:cubicBezTo>
                  <a:pt x="1445" y="1113"/>
                  <a:pt x="1416" y="1084"/>
                  <a:pt x="1416" y="1048"/>
                </a:cubicBezTo>
                <a:cubicBezTo>
                  <a:pt x="1416" y="1012"/>
                  <a:pt x="1445" y="983"/>
                  <a:pt x="1481" y="983"/>
                </a:cubicBezTo>
                <a:cubicBezTo>
                  <a:pt x="1679" y="983"/>
                  <a:pt x="1679" y="983"/>
                  <a:pt x="1679" y="983"/>
                </a:cubicBezTo>
                <a:cubicBezTo>
                  <a:pt x="1736" y="983"/>
                  <a:pt x="1784" y="935"/>
                  <a:pt x="1784" y="878"/>
                </a:cubicBezTo>
                <a:cubicBezTo>
                  <a:pt x="1784" y="235"/>
                  <a:pt x="1784" y="235"/>
                  <a:pt x="1784" y="235"/>
                </a:cubicBezTo>
                <a:cubicBezTo>
                  <a:pt x="1784" y="178"/>
                  <a:pt x="1736" y="130"/>
                  <a:pt x="1679" y="130"/>
                </a:cubicBezTo>
                <a:cubicBezTo>
                  <a:pt x="235" y="130"/>
                  <a:pt x="235" y="130"/>
                  <a:pt x="235" y="130"/>
                </a:cubicBezTo>
                <a:cubicBezTo>
                  <a:pt x="178" y="130"/>
                  <a:pt x="130" y="178"/>
                  <a:pt x="130" y="235"/>
                </a:cubicBezTo>
                <a:cubicBezTo>
                  <a:pt x="130" y="878"/>
                  <a:pt x="130" y="878"/>
                  <a:pt x="130" y="878"/>
                </a:cubicBezTo>
                <a:cubicBezTo>
                  <a:pt x="130" y="935"/>
                  <a:pt x="178" y="983"/>
                  <a:pt x="235" y="983"/>
                </a:cubicBezTo>
                <a:cubicBezTo>
                  <a:pt x="313" y="983"/>
                  <a:pt x="313" y="983"/>
                  <a:pt x="313" y="983"/>
                </a:cubicBezTo>
                <a:cubicBezTo>
                  <a:pt x="315" y="980"/>
                  <a:pt x="317" y="978"/>
                  <a:pt x="319" y="976"/>
                </a:cubicBezTo>
                <a:cubicBezTo>
                  <a:pt x="431" y="864"/>
                  <a:pt x="431" y="864"/>
                  <a:pt x="431" y="864"/>
                </a:cubicBezTo>
                <a:cubicBezTo>
                  <a:pt x="542" y="752"/>
                  <a:pt x="542" y="752"/>
                  <a:pt x="542" y="752"/>
                </a:cubicBezTo>
                <a:cubicBezTo>
                  <a:pt x="580" y="715"/>
                  <a:pt x="642" y="715"/>
                  <a:pt x="679" y="752"/>
                </a:cubicBezTo>
                <a:cubicBezTo>
                  <a:pt x="903" y="976"/>
                  <a:pt x="903" y="976"/>
                  <a:pt x="903" y="976"/>
                </a:cubicBezTo>
                <a:cubicBezTo>
                  <a:pt x="940" y="1013"/>
                  <a:pt x="940" y="1075"/>
                  <a:pt x="903" y="1113"/>
                </a:cubicBezTo>
                <a:cubicBezTo>
                  <a:pt x="679" y="1336"/>
                  <a:pt x="679" y="1336"/>
                  <a:pt x="679" y="1336"/>
                </a:cubicBezTo>
                <a:cubicBezTo>
                  <a:pt x="642" y="1374"/>
                  <a:pt x="580" y="1374"/>
                  <a:pt x="542" y="1336"/>
                </a:cubicBezTo>
                <a:cubicBezTo>
                  <a:pt x="319" y="1113"/>
                  <a:pt x="319" y="1113"/>
                  <a:pt x="319" y="1113"/>
                </a:cubicBezTo>
                <a:cubicBezTo>
                  <a:pt x="235" y="1113"/>
                  <a:pt x="235" y="1113"/>
                  <a:pt x="235" y="1113"/>
                </a:cubicBezTo>
                <a:cubicBezTo>
                  <a:pt x="105" y="1113"/>
                  <a:pt x="0" y="1008"/>
                  <a:pt x="0" y="878"/>
                </a:cubicBezTo>
                <a:cubicBezTo>
                  <a:pt x="0" y="235"/>
                  <a:pt x="0" y="235"/>
                  <a:pt x="0" y="235"/>
                </a:cubicBezTo>
                <a:cubicBezTo>
                  <a:pt x="0" y="105"/>
                  <a:pt x="105" y="0"/>
                  <a:pt x="235" y="0"/>
                </a:cubicBezTo>
                <a:cubicBezTo>
                  <a:pt x="1679" y="0"/>
                  <a:pt x="1679" y="0"/>
                  <a:pt x="1679" y="0"/>
                </a:cubicBezTo>
                <a:cubicBezTo>
                  <a:pt x="1808" y="0"/>
                  <a:pt x="1914" y="105"/>
                  <a:pt x="1914" y="235"/>
                </a:cubicBezTo>
                <a:close/>
                <a:moveTo>
                  <a:pt x="475" y="1072"/>
                </a:moveTo>
                <a:cubicBezTo>
                  <a:pt x="583" y="1180"/>
                  <a:pt x="583" y="1180"/>
                  <a:pt x="583" y="1180"/>
                </a:cubicBezTo>
                <a:cubicBezTo>
                  <a:pt x="598" y="1195"/>
                  <a:pt x="623" y="1195"/>
                  <a:pt x="639" y="1180"/>
                </a:cubicBezTo>
                <a:cubicBezTo>
                  <a:pt x="747" y="1072"/>
                  <a:pt x="747" y="1072"/>
                  <a:pt x="747" y="1072"/>
                </a:cubicBezTo>
                <a:cubicBezTo>
                  <a:pt x="762" y="1057"/>
                  <a:pt x="762" y="1032"/>
                  <a:pt x="747" y="1017"/>
                </a:cubicBezTo>
                <a:cubicBezTo>
                  <a:pt x="639" y="909"/>
                  <a:pt x="639" y="909"/>
                  <a:pt x="639" y="909"/>
                </a:cubicBezTo>
                <a:cubicBezTo>
                  <a:pt x="623" y="893"/>
                  <a:pt x="598" y="893"/>
                  <a:pt x="583" y="909"/>
                </a:cubicBezTo>
                <a:cubicBezTo>
                  <a:pt x="529" y="963"/>
                  <a:pt x="529" y="963"/>
                  <a:pt x="529" y="963"/>
                </a:cubicBezTo>
                <a:cubicBezTo>
                  <a:pt x="475" y="1017"/>
                  <a:pt x="475" y="1017"/>
                  <a:pt x="475" y="1017"/>
                </a:cubicBezTo>
                <a:cubicBezTo>
                  <a:pt x="460" y="1032"/>
                  <a:pt x="460" y="1057"/>
                  <a:pt x="475" y="1072"/>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defRPr/>
            </a:pPr>
            <a:endParaRPr lang="en-US" kern="0">
              <a:solidFill>
                <a:srgbClr val="FFFFFF"/>
              </a:solidFill>
              <a:highlight>
                <a:srgbClr val="FFFFFF"/>
              </a:highlight>
              <a:latin typeface="Segoe UI"/>
            </a:endParaRPr>
          </a:p>
        </p:txBody>
      </p:sp>
      <p:pic>
        <p:nvPicPr>
          <p:cNvPr id="79" name="Picture 78"/>
          <p:cNvPicPr>
            <a:picLocks noChangeAspect="1"/>
          </p:cNvPicPr>
          <p:nvPr/>
        </p:nvPicPr>
        <p:blipFill>
          <a:blip r:embed="rId3" cstate="screen">
            <a:lum bright="100000"/>
            <a:extLst>
              <a:ext uri="{28A0092B-C50C-407E-A947-70E740481C1C}">
                <a14:useLocalDpi xmlns:a14="http://schemas.microsoft.com/office/drawing/2010/main"/>
              </a:ext>
            </a:extLst>
          </a:blip>
          <a:stretch>
            <a:fillRect/>
          </a:stretch>
        </p:blipFill>
        <p:spPr>
          <a:xfrm>
            <a:off x="1963073" y="2525238"/>
            <a:ext cx="745978" cy="745389"/>
          </a:xfrm>
          <a:prstGeom prst="rect">
            <a:avLst/>
          </a:prstGeom>
        </p:spPr>
      </p:pic>
      <p:pic>
        <p:nvPicPr>
          <p:cNvPr id="80" name="Picture 7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503263" y="2483200"/>
            <a:ext cx="839224" cy="839224"/>
          </a:xfrm>
          <a:prstGeom prst="rect">
            <a:avLst/>
          </a:prstGeom>
        </p:spPr>
      </p:pic>
      <p:sp>
        <p:nvSpPr>
          <p:cNvPr id="10" name="Freeform 5"/>
          <p:cNvSpPr>
            <a:spLocks noChangeAspect="1" noEditPoints="1"/>
          </p:cNvSpPr>
          <p:nvPr/>
        </p:nvSpPr>
        <p:spPr bwMode="auto">
          <a:xfrm>
            <a:off x="7090626" y="2576447"/>
            <a:ext cx="820956" cy="639989"/>
          </a:xfrm>
          <a:custGeom>
            <a:avLst/>
            <a:gdLst>
              <a:gd name="T0" fmla="*/ 512 w 1137"/>
              <a:gd name="T1" fmla="*/ 130 h 885"/>
              <a:gd name="T2" fmla="*/ 609 w 1137"/>
              <a:gd name="T3" fmla="*/ 130 h 885"/>
              <a:gd name="T4" fmla="*/ 863 w 1137"/>
              <a:gd name="T5" fmla="*/ 559 h 885"/>
              <a:gd name="T6" fmla="*/ 882 w 1137"/>
              <a:gd name="T7" fmla="*/ 726 h 885"/>
              <a:gd name="T8" fmla="*/ 713 w 1137"/>
              <a:gd name="T9" fmla="*/ 757 h 885"/>
              <a:gd name="T10" fmla="*/ 681 w 1137"/>
              <a:gd name="T11" fmla="*/ 588 h 885"/>
              <a:gd name="T12" fmla="*/ 752 w 1137"/>
              <a:gd name="T13" fmla="*/ 557 h 885"/>
              <a:gd name="T14" fmla="*/ 729 w 1137"/>
              <a:gd name="T15" fmla="*/ 465 h 885"/>
              <a:gd name="T16" fmla="*/ 526 w 1137"/>
              <a:gd name="T17" fmla="*/ 436 h 885"/>
              <a:gd name="T18" fmla="*/ 377 w 1137"/>
              <a:gd name="T19" fmla="*/ 494 h 885"/>
              <a:gd name="T20" fmla="*/ 426 w 1137"/>
              <a:gd name="T21" fmla="*/ 559 h 885"/>
              <a:gd name="T22" fmla="*/ 445 w 1137"/>
              <a:gd name="T23" fmla="*/ 726 h 885"/>
              <a:gd name="T24" fmla="*/ 276 w 1137"/>
              <a:gd name="T25" fmla="*/ 757 h 885"/>
              <a:gd name="T26" fmla="*/ 245 w 1137"/>
              <a:gd name="T27" fmla="*/ 588 h 885"/>
              <a:gd name="T28" fmla="*/ 321 w 1137"/>
              <a:gd name="T29" fmla="*/ 557 h 885"/>
              <a:gd name="T30" fmla="*/ 387 w 1137"/>
              <a:gd name="T31" fmla="*/ 411 h 885"/>
              <a:gd name="T32" fmla="*/ 536 w 1137"/>
              <a:gd name="T33" fmla="*/ 353 h 885"/>
              <a:gd name="T34" fmla="*/ 467 w 1137"/>
              <a:gd name="T35" fmla="*/ 272 h 885"/>
              <a:gd name="T36" fmla="*/ 467 w 1137"/>
              <a:gd name="T37" fmla="*/ 84 h 885"/>
              <a:gd name="T38" fmla="*/ 629 w 1137"/>
              <a:gd name="T39" fmla="*/ 74 h 885"/>
              <a:gd name="T40" fmla="*/ 665 w 1137"/>
              <a:gd name="T41" fmla="*/ 109 h 885"/>
              <a:gd name="T42" fmla="*/ 629 w 1137"/>
              <a:gd name="T43" fmla="*/ 282 h 885"/>
              <a:gd name="T44" fmla="*/ 599 w 1137"/>
              <a:gd name="T45" fmla="*/ 371 h 885"/>
              <a:gd name="T46" fmla="*/ 789 w 1137"/>
              <a:gd name="T47" fmla="*/ 441 h 885"/>
              <a:gd name="T48" fmla="*/ 961 w 1137"/>
              <a:gd name="T49" fmla="*/ 3 h 885"/>
              <a:gd name="T50" fmla="*/ 1052 w 1137"/>
              <a:gd name="T51" fmla="*/ 29 h 885"/>
              <a:gd name="T52" fmla="*/ 1086 w 1137"/>
              <a:gd name="T53" fmla="*/ 407 h 885"/>
              <a:gd name="T54" fmla="*/ 1137 w 1137"/>
              <a:gd name="T55" fmla="*/ 472 h 885"/>
              <a:gd name="T56" fmla="*/ 1077 w 1137"/>
              <a:gd name="T57" fmla="*/ 502 h 885"/>
              <a:gd name="T58" fmla="*/ 992 w 1137"/>
              <a:gd name="T59" fmla="*/ 885 h 885"/>
              <a:gd name="T60" fmla="*/ 992 w 1137"/>
              <a:gd name="T61" fmla="*/ 829 h 885"/>
              <a:gd name="T62" fmla="*/ 1021 w 1137"/>
              <a:gd name="T63" fmla="*/ 502 h 885"/>
              <a:gd name="T64" fmla="*/ 1021 w 1137"/>
              <a:gd name="T65" fmla="*/ 89 h 885"/>
              <a:gd name="T66" fmla="*/ 992 w 1137"/>
              <a:gd name="T67" fmla="*/ 59 h 885"/>
              <a:gd name="T68" fmla="*/ 176 w 1137"/>
              <a:gd name="T69" fmla="*/ 56 h 885"/>
              <a:gd name="T70" fmla="*/ 116 w 1137"/>
              <a:gd name="T71" fmla="*/ 85 h 885"/>
              <a:gd name="T72" fmla="*/ 116 w 1137"/>
              <a:gd name="T73" fmla="*/ 498 h 885"/>
              <a:gd name="T74" fmla="*/ 146 w 1137"/>
              <a:gd name="T75" fmla="*/ 825 h 885"/>
              <a:gd name="T76" fmla="*/ 146 w 1137"/>
              <a:gd name="T77" fmla="*/ 881 h 885"/>
              <a:gd name="T78" fmla="*/ 60 w 1137"/>
              <a:gd name="T79" fmla="*/ 498 h 885"/>
              <a:gd name="T80" fmla="*/ 31 w 1137"/>
              <a:gd name="T81" fmla="*/ 468 h 885"/>
              <a:gd name="T82" fmla="*/ 31 w 1137"/>
              <a:gd name="T83" fmla="*/ 412 h 885"/>
              <a:gd name="T84" fmla="*/ 60 w 1137"/>
              <a:gd name="T85" fmla="*/ 85 h 885"/>
              <a:gd name="T86" fmla="*/ 176 w 1137"/>
              <a:gd name="T87"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7" h="885">
                <a:moveTo>
                  <a:pt x="609" y="130"/>
                </a:moveTo>
                <a:cubicBezTo>
                  <a:pt x="561" y="130"/>
                  <a:pt x="561" y="130"/>
                  <a:pt x="561" y="130"/>
                </a:cubicBezTo>
                <a:cubicBezTo>
                  <a:pt x="512" y="130"/>
                  <a:pt x="512" y="130"/>
                  <a:pt x="512" y="130"/>
                </a:cubicBezTo>
                <a:cubicBezTo>
                  <a:pt x="512" y="226"/>
                  <a:pt x="512" y="226"/>
                  <a:pt x="512" y="226"/>
                </a:cubicBezTo>
                <a:cubicBezTo>
                  <a:pt x="609" y="226"/>
                  <a:pt x="609" y="226"/>
                  <a:pt x="609" y="226"/>
                </a:cubicBezTo>
                <a:cubicBezTo>
                  <a:pt x="609" y="130"/>
                  <a:pt x="609" y="130"/>
                  <a:pt x="609" y="130"/>
                </a:cubicBezTo>
                <a:moveTo>
                  <a:pt x="808" y="557"/>
                </a:moveTo>
                <a:cubicBezTo>
                  <a:pt x="851" y="557"/>
                  <a:pt x="851" y="557"/>
                  <a:pt x="851" y="557"/>
                </a:cubicBezTo>
                <a:cubicBezTo>
                  <a:pt x="855" y="557"/>
                  <a:pt x="859" y="557"/>
                  <a:pt x="863" y="559"/>
                </a:cubicBezTo>
                <a:cubicBezTo>
                  <a:pt x="867" y="561"/>
                  <a:pt x="870" y="563"/>
                  <a:pt x="873" y="566"/>
                </a:cubicBezTo>
                <a:cubicBezTo>
                  <a:pt x="878" y="571"/>
                  <a:pt x="882" y="579"/>
                  <a:pt x="882" y="588"/>
                </a:cubicBezTo>
                <a:cubicBezTo>
                  <a:pt x="882" y="726"/>
                  <a:pt x="882" y="726"/>
                  <a:pt x="882" y="726"/>
                </a:cubicBezTo>
                <a:cubicBezTo>
                  <a:pt x="882" y="734"/>
                  <a:pt x="878" y="742"/>
                  <a:pt x="873" y="748"/>
                </a:cubicBezTo>
                <a:cubicBezTo>
                  <a:pt x="867" y="754"/>
                  <a:pt x="859" y="757"/>
                  <a:pt x="851" y="757"/>
                </a:cubicBezTo>
                <a:cubicBezTo>
                  <a:pt x="713" y="757"/>
                  <a:pt x="713" y="757"/>
                  <a:pt x="713" y="757"/>
                </a:cubicBezTo>
                <a:cubicBezTo>
                  <a:pt x="704" y="757"/>
                  <a:pt x="696" y="754"/>
                  <a:pt x="691" y="748"/>
                </a:cubicBezTo>
                <a:cubicBezTo>
                  <a:pt x="685" y="742"/>
                  <a:pt x="681" y="734"/>
                  <a:pt x="681" y="726"/>
                </a:cubicBezTo>
                <a:cubicBezTo>
                  <a:pt x="681" y="588"/>
                  <a:pt x="681" y="588"/>
                  <a:pt x="681" y="588"/>
                </a:cubicBezTo>
                <a:cubicBezTo>
                  <a:pt x="681" y="579"/>
                  <a:pt x="685" y="571"/>
                  <a:pt x="691" y="566"/>
                </a:cubicBezTo>
                <a:cubicBezTo>
                  <a:pt x="696" y="560"/>
                  <a:pt x="704" y="557"/>
                  <a:pt x="713" y="557"/>
                </a:cubicBezTo>
                <a:cubicBezTo>
                  <a:pt x="752" y="557"/>
                  <a:pt x="752" y="557"/>
                  <a:pt x="752" y="557"/>
                </a:cubicBezTo>
                <a:cubicBezTo>
                  <a:pt x="752" y="494"/>
                  <a:pt x="752" y="494"/>
                  <a:pt x="752" y="494"/>
                </a:cubicBezTo>
                <a:cubicBezTo>
                  <a:pt x="752" y="487"/>
                  <a:pt x="750" y="481"/>
                  <a:pt x="745" y="476"/>
                </a:cubicBezTo>
                <a:cubicBezTo>
                  <a:pt x="741" y="471"/>
                  <a:pt x="736" y="467"/>
                  <a:pt x="729" y="465"/>
                </a:cubicBezTo>
                <a:cubicBezTo>
                  <a:pt x="603" y="436"/>
                  <a:pt x="603" y="436"/>
                  <a:pt x="603" y="436"/>
                </a:cubicBezTo>
                <a:cubicBezTo>
                  <a:pt x="588" y="433"/>
                  <a:pt x="575" y="426"/>
                  <a:pt x="564" y="416"/>
                </a:cubicBezTo>
                <a:cubicBezTo>
                  <a:pt x="554" y="426"/>
                  <a:pt x="541" y="433"/>
                  <a:pt x="526" y="436"/>
                </a:cubicBezTo>
                <a:cubicBezTo>
                  <a:pt x="400" y="465"/>
                  <a:pt x="400" y="465"/>
                  <a:pt x="400" y="465"/>
                </a:cubicBezTo>
                <a:cubicBezTo>
                  <a:pt x="393" y="467"/>
                  <a:pt x="387" y="471"/>
                  <a:pt x="383" y="476"/>
                </a:cubicBezTo>
                <a:cubicBezTo>
                  <a:pt x="379" y="481"/>
                  <a:pt x="377" y="487"/>
                  <a:pt x="377" y="494"/>
                </a:cubicBezTo>
                <a:cubicBezTo>
                  <a:pt x="377" y="557"/>
                  <a:pt x="377" y="557"/>
                  <a:pt x="377" y="557"/>
                </a:cubicBezTo>
                <a:cubicBezTo>
                  <a:pt x="414" y="557"/>
                  <a:pt x="414" y="557"/>
                  <a:pt x="414" y="557"/>
                </a:cubicBezTo>
                <a:cubicBezTo>
                  <a:pt x="418" y="557"/>
                  <a:pt x="422" y="557"/>
                  <a:pt x="426" y="559"/>
                </a:cubicBezTo>
                <a:cubicBezTo>
                  <a:pt x="430" y="561"/>
                  <a:pt x="433" y="563"/>
                  <a:pt x="436" y="566"/>
                </a:cubicBezTo>
                <a:cubicBezTo>
                  <a:pt x="442" y="571"/>
                  <a:pt x="445" y="579"/>
                  <a:pt x="445" y="588"/>
                </a:cubicBezTo>
                <a:cubicBezTo>
                  <a:pt x="445" y="726"/>
                  <a:pt x="445" y="726"/>
                  <a:pt x="445" y="726"/>
                </a:cubicBezTo>
                <a:cubicBezTo>
                  <a:pt x="445" y="734"/>
                  <a:pt x="442" y="742"/>
                  <a:pt x="436" y="748"/>
                </a:cubicBezTo>
                <a:cubicBezTo>
                  <a:pt x="430" y="754"/>
                  <a:pt x="423" y="757"/>
                  <a:pt x="414" y="757"/>
                </a:cubicBezTo>
                <a:cubicBezTo>
                  <a:pt x="276" y="757"/>
                  <a:pt x="276" y="757"/>
                  <a:pt x="276" y="757"/>
                </a:cubicBezTo>
                <a:cubicBezTo>
                  <a:pt x="268" y="757"/>
                  <a:pt x="260" y="754"/>
                  <a:pt x="254" y="748"/>
                </a:cubicBezTo>
                <a:cubicBezTo>
                  <a:pt x="248" y="742"/>
                  <a:pt x="245" y="734"/>
                  <a:pt x="245" y="726"/>
                </a:cubicBezTo>
                <a:cubicBezTo>
                  <a:pt x="245" y="588"/>
                  <a:pt x="245" y="588"/>
                  <a:pt x="245" y="588"/>
                </a:cubicBezTo>
                <a:cubicBezTo>
                  <a:pt x="245" y="579"/>
                  <a:pt x="248" y="571"/>
                  <a:pt x="254" y="566"/>
                </a:cubicBezTo>
                <a:cubicBezTo>
                  <a:pt x="260" y="560"/>
                  <a:pt x="268" y="557"/>
                  <a:pt x="276" y="557"/>
                </a:cubicBezTo>
                <a:cubicBezTo>
                  <a:pt x="321" y="557"/>
                  <a:pt x="321" y="557"/>
                  <a:pt x="321" y="557"/>
                </a:cubicBezTo>
                <a:cubicBezTo>
                  <a:pt x="321" y="494"/>
                  <a:pt x="321" y="494"/>
                  <a:pt x="321" y="494"/>
                </a:cubicBezTo>
                <a:cubicBezTo>
                  <a:pt x="321" y="474"/>
                  <a:pt x="328" y="456"/>
                  <a:pt x="339" y="441"/>
                </a:cubicBezTo>
                <a:cubicBezTo>
                  <a:pt x="351" y="426"/>
                  <a:pt x="368" y="415"/>
                  <a:pt x="387" y="411"/>
                </a:cubicBezTo>
                <a:cubicBezTo>
                  <a:pt x="513" y="382"/>
                  <a:pt x="513" y="382"/>
                  <a:pt x="513" y="382"/>
                </a:cubicBezTo>
                <a:cubicBezTo>
                  <a:pt x="520" y="380"/>
                  <a:pt x="526" y="376"/>
                  <a:pt x="530" y="371"/>
                </a:cubicBezTo>
                <a:cubicBezTo>
                  <a:pt x="534" y="366"/>
                  <a:pt x="536" y="360"/>
                  <a:pt x="536" y="353"/>
                </a:cubicBezTo>
                <a:cubicBezTo>
                  <a:pt x="536" y="282"/>
                  <a:pt x="536" y="282"/>
                  <a:pt x="536" y="282"/>
                </a:cubicBezTo>
                <a:cubicBezTo>
                  <a:pt x="492" y="282"/>
                  <a:pt x="492" y="282"/>
                  <a:pt x="492" y="282"/>
                </a:cubicBezTo>
                <a:cubicBezTo>
                  <a:pt x="482" y="282"/>
                  <a:pt x="473" y="278"/>
                  <a:pt x="467" y="272"/>
                </a:cubicBezTo>
                <a:cubicBezTo>
                  <a:pt x="460" y="266"/>
                  <a:pt x="456" y="257"/>
                  <a:pt x="456" y="247"/>
                </a:cubicBezTo>
                <a:cubicBezTo>
                  <a:pt x="456" y="109"/>
                  <a:pt x="456" y="109"/>
                  <a:pt x="456" y="109"/>
                </a:cubicBezTo>
                <a:cubicBezTo>
                  <a:pt x="456" y="100"/>
                  <a:pt x="460" y="91"/>
                  <a:pt x="467" y="84"/>
                </a:cubicBezTo>
                <a:cubicBezTo>
                  <a:pt x="473" y="78"/>
                  <a:pt x="482" y="74"/>
                  <a:pt x="492" y="74"/>
                </a:cubicBezTo>
                <a:cubicBezTo>
                  <a:pt x="561" y="74"/>
                  <a:pt x="561" y="74"/>
                  <a:pt x="561" y="74"/>
                </a:cubicBezTo>
                <a:cubicBezTo>
                  <a:pt x="629" y="74"/>
                  <a:pt x="629" y="74"/>
                  <a:pt x="629" y="74"/>
                </a:cubicBezTo>
                <a:cubicBezTo>
                  <a:pt x="634" y="74"/>
                  <a:pt x="639" y="75"/>
                  <a:pt x="643" y="77"/>
                </a:cubicBezTo>
                <a:cubicBezTo>
                  <a:pt x="647" y="79"/>
                  <a:pt x="651" y="81"/>
                  <a:pt x="654" y="84"/>
                </a:cubicBezTo>
                <a:cubicBezTo>
                  <a:pt x="661" y="91"/>
                  <a:pt x="665" y="100"/>
                  <a:pt x="665" y="109"/>
                </a:cubicBezTo>
                <a:cubicBezTo>
                  <a:pt x="665" y="247"/>
                  <a:pt x="665" y="247"/>
                  <a:pt x="665" y="247"/>
                </a:cubicBezTo>
                <a:cubicBezTo>
                  <a:pt x="665" y="257"/>
                  <a:pt x="661" y="266"/>
                  <a:pt x="654" y="272"/>
                </a:cubicBezTo>
                <a:cubicBezTo>
                  <a:pt x="648" y="278"/>
                  <a:pt x="639" y="282"/>
                  <a:pt x="629" y="282"/>
                </a:cubicBezTo>
                <a:cubicBezTo>
                  <a:pt x="592" y="282"/>
                  <a:pt x="592" y="282"/>
                  <a:pt x="592" y="282"/>
                </a:cubicBezTo>
                <a:cubicBezTo>
                  <a:pt x="592" y="353"/>
                  <a:pt x="592" y="353"/>
                  <a:pt x="592" y="353"/>
                </a:cubicBezTo>
                <a:cubicBezTo>
                  <a:pt x="592" y="360"/>
                  <a:pt x="595" y="366"/>
                  <a:pt x="599" y="371"/>
                </a:cubicBezTo>
                <a:cubicBezTo>
                  <a:pt x="603" y="376"/>
                  <a:pt x="608" y="380"/>
                  <a:pt x="615" y="382"/>
                </a:cubicBezTo>
                <a:cubicBezTo>
                  <a:pt x="741" y="411"/>
                  <a:pt x="741" y="411"/>
                  <a:pt x="741" y="411"/>
                </a:cubicBezTo>
                <a:cubicBezTo>
                  <a:pt x="761" y="415"/>
                  <a:pt x="778" y="426"/>
                  <a:pt x="789" y="441"/>
                </a:cubicBezTo>
                <a:cubicBezTo>
                  <a:pt x="801" y="456"/>
                  <a:pt x="808" y="474"/>
                  <a:pt x="808" y="494"/>
                </a:cubicBezTo>
                <a:cubicBezTo>
                  <a:pt x="808" y="557"/>
                  <a:pt x="808" y="557"/>
                  <a:pt x="808" y="557"/>
                </a:cubicBezTo>
                <a:moveTo>
                  <a:pt x="961" y="3"/>
                </a:moveTo>
                <a:cubicBezTo>
                  <a:pt x="992" y="3"/>
                  <a:pt x="992" y="3"/>
                  <a:pt x="992" y="3"/>
                </a:cubicBezTo>
                <a:cubicBezTo>
                  <a:pt x="1003" y="3"/>
                  <a:pt x="1015" y="6"/>
                  <a:pt x="1025" y="10"/>
                </a:cubicBezTo>
                <a:cubicBezTo>
                  <a:pt x="1035" y="15"/>
                  <a:pt x="1044" y="21"/>
                  <a:pt x="1052" y="29"/>
                </a:cubicBezTo>
                <a:cubicBezTo>
                  <a:pt x="1068" y="44"/>
                  <a:pt x="1077" y="65"/>
                  <a:pt x="1077" y="89"/>
                </a:cubicBezTo>
                <a:cubicBezTo>
                  <a:pt x="1077" y="387"/>
                  <a:pt x="1077" y="387"/>
                  <a:pt x="1077" y="387"/>
                </a:cubicBezTo>
                <a:cubicBezTo>
                  <a:pt x="1077" y="395"/>
                  <a:pt x="1081" y="402"/>
                  <a:pt x="1086" y="407"/>
                </a:cubicBezTo>
                <a:cubicBezTo>
                  <a:pt x="1091" y="413"/>
                  <a:pt x="1099" y="416"/>
                  <a:pt x="1107" y="416"/>
                </a:cubicBezTo>
                <a:cubicBezTo>
                  <a:pt x="1137" y="416"/>
                  <a:pt x="1137" y="416"/>
                  <a:pt x="1137" y="416"/>
                </a:cubicBezTo>
                <a:cubicBezTo>
                  <a:pt x="1137" y="472"/>
                  <a:pt x="1137" y="472"/>
                  <a:pt x="1137" y="472"/>
                </a:cubicBezTo>
                <a:cubicBezTo>
                  <a:pt x="1107" y="472"/>
                  <a:pt x="1107" y="472"/>
                  <a:pt x="1107" y="472"/>
                </a:cubicBezTo>
                <a:cubicBezTo>
                  <a:pt x="1099" y="472"/>
                  <a:pt x="1091" y="476"/>
                  <a:pt x="1086" y="481"/>
                </a:cubicBezTo>
                <a:cubicBezTo>
                  <a:pt x="1081" y="486"/>
                  <a:pt x="1077" y="494"/>
                  <a:pt x="1077" y="502"/>
                </a:cubicBezTo>
                <a:cubicBezTo>
                  <a:pt x="1077" y="800"/>
                  <a:pt x="1077" y="800"/>
                  <a:pt x="1077" y="800"/>
                </a:cubicBezTo>
                <a:cubicBezTo>
                  <a:pt x="1077" y="823"/>
                  <a:pt x="1068" y="844"/>
                  <a:pt x="1052" y="860"/>
                </a:cubicBezTo>
                <a:cubicBezTo>
                  <a:pt x="1037" y="875"/>
                  <a:pt x="1015" y="885"/>
                  <a:pt x="992" y="885"/>
                </a:cubicBezTo>
                <a:cubicBezTo>
                  <a:pt x="961" y="885"/>
                  <a:pt x="961" y="885"/>
                  <a:pt x="961" y="885"/>
                </a:cubicBezTo>
                <a:cubicBezTo>
                  <a:pt x="961" y="829"/>
                  <a:pt x="961" y="829"/>
                  <a:pt x="961" y="829"/>
                </a:cubicBezTo>
                <a:cubicBezTo>
                  <a:pt x="992" y="829"/>
                  <a:pt x="992" y="829"/>
                  <a:pt x="992" y="829"/>
                </a:cubicBezTo>
                <a:cubicBezTo>
                  <a:pt x="1000" y="829"/>
                  <a:pt x="1007" y="826"/>
                  <a:pt x="1012" y="820"/>
                </a:cubicBezTo>
                <a:cubicBezTo>
                  <a:pt x="1018" y="815"/>
                  <a:pt x="1021" y="808"/>
                  <a:pt x="1021" y="800"/>
                </a:cubicBezTo>
                <a:cubicBezTo>
                  <a:pt x="1021" y="502"/>
                  <a:pt x="1021" y="502"/>
                  <a:pt x="1021" y="502"/>
                </a:cubicBezTo>
                <a:cubicBezTo>
                  <a:pt x="1021" y="480"/>
                  <a:pt x="1030" y="459"/>
                  <a:pt x="1044" y="444"/>
                </a:cubicBezTo>
                <a:cubicBezTo>
                  <a:pt x="1030" y="429"/>
                  <a:pt x="1021" y="409"/>
                  <a:pt x="1021" y="387"/>
                </a:cubicBezTo>
                <a:cubicBezTo>
                  <a:pt x="1021" y="89"/>
                  <a:pt x="1021" y="89"/>
                  <a:pt x="1021" y="89"/>
                </a:cubicBezTo>
                <a:cubicBezTo>
                  <a:pt x="1021" y="81"/>
                  <a:pt x="1018" y="74"/>
                  <a:pt x="1012" y="68"/>
                </a:cubicBezTo>
                <a:cubicBezTo>
                  <a:pt x="1010" y="65"/>
                  <a:pt x="1007" y="63"/>
                  <a:pt x="1003" y="62"/>
                </a:cubicBezTo>
                <a:cubicBezTo>
                  <a:pt x="1000" y="60"/>
                  <a:pt x="996" y="59"/>
                  <a:pt x="992" y="59"/>
                </a:cubicBezTo>
                <a:cubicBezTo>
                  <a:pt x="961" y="59"/>
                  <a:pt x="961" y="59"/>
                  <a:pt x="961" y="59"/>
                </a:cubicBezTo>
                <a:cubicBezTo>
                  <a:pt x="961" y="3"/>
                  <a:pt x="961" y="3"/>
                  <a:pt x="961" y="3"/>
                </a:cubicBezTo>
                <a:moveTo>
                  <a:pt x="176" y="56"/>
                </a:moveTo>
                <a:cubicBezTo>
                  <a:pt x="146" y="56"/>
                  <a:pt x="146" y="56"/>
                  <a:pt x="146" y="56"/>
                </a:cubicBezTo>
                <a:cubicBezTo>
                  <a:pt x="138" y="56"/>
                  <a:pt x="130" y="59"/>
                  <a:pt x="125" y="64"/>
                </a:cubicBezTo>
                <a:cubicBezTo>
                  <a:pt x="119" y="70"/>
                  <a:pt x="116" y="77"/>
                  <a:pt x="116" y="85"/>
                </a:cubicBezTo>
                <a:cubicBezTo>
                  <a:pt x="116" y="383"/>
                  <a:pt x="116" y="383"/>
                  <a:pt x="116" y="383"/>
                </a:cubicBezTo>
                <a:cubicBezTo>
                  <a:pt x="116" y="405"/>
                  <a:pt x="108" y="425"/>
                  <a:pt x="94" y="440"/>
                </a:cubicBezTo>
                <a:cubicBezTo>
                  <a:pt x="108" y="456"/>
                  <a:pt x="116" y="476"/>
                  <a:pt x="116" y="498"/>
                </a:cubicBezTo>
                <a:cubicBezTo>
                  <a:pt x="116" y="796"/>
                  <a:pt x="116" y="796"/>
                  <a:pt x="116" y="796"/>
                </a:cubicBezTo>
                <a:cubicBezTo>
                  <a:pt x="116" y="804"/>
                  <a:pt x="119" y="811"/>
                  <a:pt x="125" y="817"/>
                </a:cubicBezTo>
                <a:cubicBezTo>
                  <a:pt x="130" y="822"/>
                  <a:pt x="138" y="825"/>
                  <a:pt x="146" y="825"/>
                </a:cubicBezTo>
                <a:cubicBezTo>
                  <a:pt x="176" y="825"/>
                  <a:pt x="176" y="825"/>
                  <a:pt x="176" y="825"/>
                </a:cubicBezTo>
                <a:cubicBezTo>
                  <a:pt x="176" y="881"/>
                  <a:pt x="176" y="881"/>
                  <a:pt x="176" y="881"/>
                </a:cubicBezTo>
                <a:cubicBezTo>
                  <a:pt x="146" y="881"/>
                  <a:pt x="146" y="881"/>
                  <a:pt x="146" y="881"/>
                </a:cubicBezTo>
                <a:cubicBezTo>
                  <a:pt x="122" y="881"/>
                  <a:pt x="101" y="872"/>
                  <a:pt x="85" y="856"/>
                </a:cubicBezTo>
                <a:cubicBezTo>
                  <a:pt x="70" y="841"/>
                  <a:pt x="60" y="819"/>
                  <a:pt x="60" y="796"/>
                </a:cubicBezTo>
                <a:cubicBezTo>
                  <a:pt x="60" y="498"/>
                  <a:pt x="60" y="498"/>
                  <a:pt x="60" y="498"/>
                </a:cubicBezTo>
                <a:cubicBezTo>
                  <a:pt x="60" y="490"/>
                  <a:pt x="57" y="483"/>
                  <a:pt x="51" y="477"/>
                </a:cubicBezTo>
                <a:cubicBezTo>
                  <a:pt x="49" y="474"/>
                  <a:pt x="45" y="472"/>
                  <a:pt x="42" y="471"/>
                </a:cubicBezTo>
                <a:cubicBezTo>
                  <a:pt x="38" y="469"/>
                  <a:pt x="35" y="468"/>
                  <a:pt x="31" y="468"/>
                </a:cubicBezTo>
                <a:cubicBezTo>
                  <a:pt x="0" y="468"/>
                  <a:pt x="0" y="468"/>
                  <a:pt x="0" y="468"/>
                </a:cubicBezTo>
                <a:cubicBezTo>
                  <a:pt x="0" y="412"/>
                  <a:pt x="0" y="412"/>
                  <a:pt x="0" y="412"/>
                </a:cubicBezTo>
                <a:cubicBezTo>
                  <a:pt x="31" y="412"/>
                  <a:pt x="31" y="412"/>
                  <a:pt x="31" y="412"/>
                </a:cubicBezTo>
                <a:cubicBezTo>
                  <a:pt x="39" y="412"/>
                  <a:pt x="46" y="409"/>
                  <a:pt x="51" y="404"/>
                </a:cubicBezTo>
                <a:cubicBezTo>
                  <a:pt x="57" y="398"/>
                  <a:pt x="60" y="391"/>
                  <a:pt x="60" y="383"/>
                </a:cubicBezTo>
                <a:cubicBezTo>
                  <a:pt x="60" y="85"/>
                  <a:pt x="60" y="85"/>
                  <a:pt x="60" y="85"/>
                </a:cubicBezTo>
                <a:cubicBezTo>
                  <a:pt x="60" y="62"/>
                  <a:pt x="70" y="40"/>
                  <a:pt x="85" y="25"/>
                </a:cubicBezTo>
                <a:cubicBezTo>
                  <a:pt x="101" y="9"/>
                  <a:pt x="122" y="0"/>
                  <a:pt x="146" y="0"/>
                </a:cubicBezTo>
                <a:cubicBezTo>
                  <a:pt x="176" y="0"/>
                  <a:pt x="176" y="0"/>
                  <a:pt x="176" y="0"/>
                </a:cubicBezTo>
                <a:cubicBezTo>
                  <a:pt x="176" y="56"/>
                  <a:pt x="176" y="56"/>
                  <a:pt x="176" y="56"/>
                </a:cubicBezTo>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09">
              <a:defRPr/>
            </a:pPr>
            <a:endParaRPr lang="en-US" sz="1836">
              <a:solidFill>
                <a:srgbClr val="505050"/>
              </a:solidFill>
              <a:latin typeface="Segoe UI"/>
            </a:endParaRPr>
          </a:p>
        </p:txBody>
      </p:sp>
      <p:sp>
        <p:nvSpPr>
          <p:cNvPr id="32" name="Rectangle 31"/>
          <p:cNvSpPr/>
          <p:nvPr/>
        </p:nvSpPr>
        <p:spPr bwMode="auto">
          <a:xfrm>
            <a:off x="883" y="496"/>
            <a:ext cx="12434711" cy="158778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itle 1"/>
          <p:cNvSpPr txBox="1">
            <a:spLocks/>
          </p:cNvSpPr>
          <p:nvPr/>
        </p:nvSpPr>
        <p:spPr>
          <a:xfrm>
            <a:off x="275481" y="295731"/>
            <a:ext cx="11887878" cy="917444"/>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265">
              <a:defRPr/>
            </a:pPr>
            <a:r>
              <a:rPr lang="en-US" sz="4080" spc="-104">
                <a:gradFill>
                  <a:gsLst>
                    <a:gs pos="1250">
                      <a:srgbClr val="FFFFFF"/>
                    </a:gs>
                    <a:gs pos="100000">
                      <a:srgbClr val="FFFFFF"/>
                    </a:gs>
                  </a:gsLst>
                  <a:lin ang="5400000" scaled="0"/>
                </a:gradFill>
                <a:latin typeface="Segoe UI Light"/>
              </a:rPr>
              <a:t>Build apps faster and easier - PAAS</a:t>
            </a:r>
            <a:endParaRPr lang="en-US" sz="4080" spc="-30">
              <a:gradFill>
                <a:gsLst>
                  <a:gs pos="1250">
                    <a:srgbClr val="FFFFFF"/>
                  </a:gs>
                  <a:gs pos="100000">
                    <a:srgbClr val="FFFFFF"/>
                  </a:gs>
                </a:gsLst>
                <a:lin ang="5400000" scaled="0"/>
              </a:gradFill>
              <a:latin typeface="Segoe UI Light"/>
            </a:endParaRPr>
          </a:p>
        </p:txBody>
      </p:sp>
      <p:sp>
        <p:nvSpPr>
          <p:cNvPr id="36" name="Freeform 13"/>
          <p:cNvSpPr>
            <a:spLocks noChangeAspect="1" noEditPoints="1"/>
          </p:cNvSpPr>
          <p:nvPr/>
        </p:nvSpPr>
        <p:spPr bwMode="auto">
          <a:xfrm>
            <a:off x="10619354" y="308769"/>
            <a:ext cx="818871" cy="56710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cxnSp>
        <p:nvCxnSpPr>
          <p:cNvPr id="46" name="Straight Connector 45"/>
          <p:cNvCxnSpPr/>
          <p:nvPr/>
        </p:nvCxnSpPr>
        <p:spPr>
          <a:xfrm flipV="1">
            <a:off x="3656468" y="2381045"/>
            <a:ext cx="0" cy="1345217"/>
          </a:xfrm>
          <a:prstGeom prst="line">
            <a:avLst/>
          </a:prstGeom>
          <a:ln w="28575">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6237924" y="2381045"/>
            <a:ext cx="0" cy="1345217"/>
          </a:xfrm>
          <a:prstGeom prst="line">
            <a:avLst/>
          </a:prstGeom>
          <a:ln w="28575">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6890883" y="1864214"/>
            <a:ext cx="1884022" cy="531830"/>
          </a:xfrm>
          <a:prstGeom prst="rect">
            <a:avLst/>
          </a:prstGeom>
          <a:noFill/>
        </p:spPr>
        <p:txBody>
          <a:bodyPr wrap="none" lIns="186494" tIns="149196" rIns="186494" bIns="149196" rtlCol="0">
            <a:spAutoFit/>
          </a:bodyPr>
          <a:lstStyle/>
          <a:p>
            <a:pPr defTabSz="932029">
              <a:lnSpc>
                <a:spcPct val="90000"/>
              </a:lnSpc>
              <a:spcAft>
                <a:spcPts val="600"/>
              </a:spcAft>
              <a:defRPr/>
            </a:pPr>
            <a:r>
              <a:rPr lang="en-US" sz="1632" b="1" kern="0">
                <a:gradFill>
                  <a:gsLst>
                    <a:gs pos="0">
                      <a:srgbClr val="FFFFFF"/>
                    </a:gs>
                    <a:gs pos="100000">
                      <a:srgbClr val="FFFFFF"/>
                    </a:gs>
                  </a:gsLst>
                  <a:lin ang="5400000" scaled="1"/>
                </a:gradFill>
                <a:latin typeface="Segoe UI"/>
                <a:cs typeface="Segoe UI Semibold" panose="020B0702040204020203" pitchFamily="34" charset="0"/>
              </a:rPr>
              <a:t>&lt; DEVELOPERS</a:t>
            </a:r>
          </a:p>
        </p:txBody>
      </p:sp>
      <p:sp>
        <p:nvSpPr>
          <p:cNvPr id="57" name="TextBox 56"/>
          <p:cNvSpPr txBox="1"/>
          <p:nvPr/>
        </p:nvSpPr>
        <p:spPr>
          <a:xfrm>
            <a:off x="8842677" y="1864214"/>
            <a:ext cx="2469321" cy="531830"/>
          </a:xfrm>
          <a:prstGeom prst="rect">
            <a:avLst/>
          </a:prstGeom>
          <a:noFill/>
        </p:spPr>
        <p:txBody>
          <a:bodyPr wrap="none" lIns="186494" tIns="149196" rIns="186494" bIns="149196" rtlCol="0">
            <a:spAutoFit/>
          </a:bodyPr>
          <a:lstStyle/>
          <a:p>
            <a:pPr defTabSz="932029">
              <a:lnSpc>
                <a:spcPct val="90000"/>
              </a:lnSpc>
              <a:spcAft>
                <a:spcPts val="600"/>
              </a:spcAft>
              <a:defRPr/>
            </a:pPr>
            <a:r>
              <a:rPr lang="en-US" sz="1632" b="1" kern="0">
                <a:gradFill>
                  <a:gsLst>
                    <a:gs pos="0">
                      <a:srgbClr val="FFFFFF"/>
                    </a:gs>
                    <a:gs pos="100000">
                      <a:srgbClr val="FFFFFF"/>
                    </a:gs>
                  </a:gsLst>
                  <a:lin ang="5400000" scaled="1"/>
                </a:gradFill>
                <a:latin typeface="Segoe UI"/>
                <a:cs typeface="Segoe UI Semibold" panose="020B0702040204020203" pitchFamily="34" charset="0"/>
              </a:rPr>
              <a:t>NON-DEVELOPERS &gt;</a:t>
            </a:r>
          </a:p>
        </p:txBody>
      </p:sp>
      <p:cxnSp>
        <p:nvCxnSpPr>
          <p:cNvPr id="59" name="Straight Connector 58"/>
          <p:cNvCxnSpPr/>
          <p:nvPr/>
        </p:nvCxnSpPr>
        <p:spPr>
          <a:xfrm>
            <a:off x="1210352"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847872"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441675"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9006334" y="5656833"/>
            <a:ext cx="2287792"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App Innovation</a:t>
            </a:r>
          </a:p>
        </p:txBody>
      </p:sp>
    </p:spTree>
    <p:extLst>
      <p:ext uri="{BB962C8B-B14F-4D97-AF65-F5344CB8AC3E}">
        <p14:creationId xmlns:p14="http://schemas.microsoft.com/office/powerpoint/2010/main" val="64778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731837" y="1380680"/>
            <a:ext cx="9753600" cy="2511457"/>
          </a:xfrm>
          <a:prstGeom prst="rect">
            <a:avLst/>
          </a:prstGeom>
        </p:spPr>
        <p:txBody>
          <a:bodyPr/>
          <a:lstStyle/>
          <a:p>
            <a:r>
              <a:rPr lang="en-US" sz="3600" dirty="0"/>
              <a:t>About Me &amp; General Info</a:t>
            </a:r>
          </a:p>
          <a:p>
            <a:r>
              <a:rPr lang="en-US" sz="3600" dirty="0"/>
              <a:t>Azure Overview</a:t>
            </a:r>
          </a:p>
          <a:p>
            <a:r>
              <a:rPr lang="en-US" dirty="0"/>
              <a:t>Portal Demo</a:t>
            </a:r>
            <a:endParaRPr lang="en-US" sz="3600" dirty="0"/>
          </a:p>
          <a:p>
            <a:r>
              <a:rPr lang="en-US" dirty="0"/>
              <a:t>Azure Account Setup</a:t>
            </a:r>
            <a:endParaRPr lang="en-US" sz="3600" dirty="0"/>
          </a:p>
        </p:txBody>
      </p:sp>
      <p:sp>
        <p:nvSpPr>
          <p:cNvPr id="2" name="Title 1"/>
          <p:cNvSpPr>
            <a:spLocks noGrp="1"/>
          </p:cNvSpPr>
          <p:nvPr>
            <p:ph type="title"/>
          </p:nvPr>
        </p:nvSpPr>
        <p:spPr/>
        <p:txBody>
          <a:bodyPr/>
          <a:lstStyle/>
          <a:p>
            <a:r>
              <a:rPr lang="en-US" dirty="0"/>
              <a:t>Goals of Presentation</a:t>
            </a:r>
          </a:p>
        </p:txBody>
      </p:sp>
    </p:spTree>
    <p:extLst>
      <p:ext uri="{BB962C8B-B14F-4D97-AF65-F5344CB8AC3E}">
        <p14:creationId xmlns:p14="http://schemas.microsoft.com/office/powerpoint/2010/main" val="2728535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3" y="1588283"/>
            <a:ext cx="4227801" cy="54373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p:cNvSpPr/>
          <p:nvPr/>
        </p:nvSpPr>
        <p:spPr bwMode="auto">
          <a:xfrm>
            <a:off x="8187067" y="1588283"/>
            <a:ext cx="4289975" cy="54373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p:cNvSpPr/>
          <p:nvPr/>
        </p:nvSpPr>
        <p:spPr bwMode="auto">
          <a:xfrm>
            <a:off x="4166511" y="1588283"/>
            <a:ext cx="4103455" cy="543732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Rectangle 36"/>
          <p:cNvSpPr/>
          <p:nvPr/>
        </p:nvSpPr>
        <p:spPr bwMode="auto">
          <a:xfrm>
            <a:off x="883" y="496"/>
            <a:ext cx="12434711" cy="158778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5" name="Group 24"/>
          <p:cNvGrpSpPr/>
          <p:nvPr/>
        </p:nvGrpSpPr>
        <p:grpSpPr>
          <a:xfrm>
            <a:off x="8506304" y="2152934"/>
            <a:ext cx="3601636" cy="4813694"/>
            <a:chOff x="8340809" y="1883286"/>
            <a:chExt cx="3602147" cy="4814377"/>
          </a:xfrm>
        </p:grpSpPr>
        <p:sp>
          <p:nvSpPr>
            <p:cNvPr id="10" name="Rectangle 9"/>
            <p:cNvSpPr/>
            <p:nvPr/>
          </p:nvSpPr>
          <p:spPr bwMode="auto">
            <a:xfrm>
              <a:off x="8340809" y="1883286"/>
              <a:ext cx="3602147" cy="48143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597">
                <a:lnSpc>
                  <a:spcPct val="90000"/>
                </a:lnSpc>
              </a:pPr>
              <a:r>
                <a:rPr lang="en-US" sz="2800" b="1" spc="-30">
                  <a:ln w="3175">
                    <a:noFill/>
                  </a:ln>
                  <a:gradFill>
                    <a:gsLst>
                      <a:gs pos="93860">
                        <a:srgbClr val="505050"/>
                      </a:gs>
                      <a:gs pos="78571">
                        <a:srgbClr val="505050"/>
                      </a:gs>
                    </a:gsLst>
                    <a:lin ang="5400000" scaled="0"/>
                  </a:gradFill>
                  <a:latin typeface="Segoe UI"/>
                  <a:cs typeface="Segoe UI Semilight" panose="020B0402040204020203" pitchFamily="34" charset="0"/>
                </a:rPr>
                <a:t>Operations Management Suite</a:t>
              </a:r>
            </a:p>
          </p:txBody>
        </p:sp>
        <p:grpSp>
          <p:nvGrpSpPr>
            <p:cNvPr id="14" name="Group 13"/>
            <p:cNvGrpSpPr>
              <a:grpSpLocks noChangeAspect="1"/>
            </p:cNvGrpSpPr>
            <p:nvPr/>
          </p:nvGrpSpPr>
          <p:grpSpPr>
            <a:xfrm>
              <a:off x="8360968" y="3262594"/>
              <a:ext cx="3581987" cy="2386677"/>
              <a:chOff x="8408824" y="2897183"/>
              <a:chExt cx="3687484" cy="2456970"/>
            </a:xfrm>
          </p:grpSpPr>
          <p:pic>
            <p:nvPicPr>
              <p:cNvPr id="19" name="Pictur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06188" y="3109730"/>
                <a:ext cx="3292177" cy="1915761"/>
              </a:xfrm>
              <a:prstGeom prst="rect">
                <a:avLst/>
              </a:prstGeom>
            </p:spPr>
          </p:pic>
          <p:sp>
            <p:nvSpPr>
              <p:cNvPr id="32" name="Freeform 31"/>
              <p:cNvSpPr>
                <a:spLocks/>
              </p:cNvSpPr>
              <p:nvPr/>
            </p:nvSpPr>
            <p:spPr bwMode="auto">
              <a:xfrm flipH="1">
                <a:off x="8408824" y="2897183"/>
                <a:ext cx="3687484" cy="2456970"/>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182854" tIns="146283" rIns="182854" bIns="146283" numCol="1" anchor="t" anchorCtr="0" compatLnSpc="1">
                <a:prstTxWarp prst="textNoShape">
                  <a:avLst/>
                </a:prstTxWarp>
                <a:noAutofit/>
              </a:bodyPr>
              <a:lstStyle/>
              <a:p>
                <a:pPr algn="ctr" defTabSz="932597"/>
                <a:endParaRPr lang="en-US" sz="1873" b="1">
                  <a:solidFill>
                    <a:srgbClr val="505050"/>
                  </a:solidFill>
                  <a:latin typeface="Segoe UI"/>
                </a:endParaRPr>
              </a:p>
            </p:txBody>
          </p:sp>
        </p:grpSp>
      </p:grpSp>
      <p:grpSp>
        <p:nvGrpSpPr>
          <p:cNvPr id="18" name="Group 17"/>
          <p:cNvGrpSpPr/>
          <p:nvPr/>
        </p:nvGrpSpPr>
        <p:grpSpPr>
          <a:xfrm>
            <a:off x="4437569" y="2152934"/>
            <a:ext cx="3585694" cy="4813694"/>
            <a:chOff x="4395861" y="1883286"/>
            <a:chExt cx="3586202" cy="4814377"/>
          </a:xfrm>
        </p:grpSpPr>
        <p:sp>
          <p:nvSpPr>
            <p:cNvPr id="11" name="Rectangle 10"/>
            <p:cNvSpPr/>
            <p:nvPr/>
          </p:nvSpPr>
          <p:spPr bwMode="auto">
            <a:xfrm>
              <a:off x="4412555" y="1883286"/>
              <a:ext cx="3569508" cy="48143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597">
                <a:lnSpc>
                  <a:spcPct val="90000"/>
                </a:lnSpc>
              </a:pPr>
              <a:r>
                <a:rPr lang="en-US" sz="2800" b="1" spc="-30">
                  <a:ln w="3175">
                    <a:noFill/>
                  </a:ln>
                  <a:gradFill>
                    <a:gsLst>
                      <a:gs pos="93860">
                        <a:srgbClr val="505050"/>
                      </a:gs>
                      <a:gs pos="78571">
                        <a:srgbClr val="505050"/>
                      </a:gs>
                    </a:gsLst>
                    <a:lin ang="5400000" scaled="0"/>
                  </a:gradFill>
                  <a:latin typeface="Segoe UI"/>
                  <a:cs typeface="Segoe UI Semilight" panose="020B0402040204020203" pitchFamily="34" charset="0"/>
                </a:rPr>
                <a:t>Application </a:t>
              </a:r>
              <a:br>
                <a:rPr lang="en-US" sz="2800" b="1" spc="-30">
                  <a:ln w="3175">
                    <a:noFill/>
                  </a:ln>
                  <a:gradFill>
                    <a:gsLst>
                      <a:gs pos="93860">
                        <a:srgbClr val="505050"/>
                      </a:gs>
                      <a:gs pos="78571">
                        <a:srgbClr val="505050"/>
                      </a:gs>
                    </a:gsLst>
                    <a:lin ang="5400000" scaled="0"/>
                  </a:gradFill>
                  <a:latin typeface="Segoe UI"/>
                  <a:cs typeface="Segoe UI Semilight" panose="020B0402040204020203" pitchFamily="34" charset="0"/>
                </a:rPr>
              </a:br>
              <a:r>
                <a:rPr lang="en-US" sz="2800" b="1" spc="-30">
                  <a:ln w="3175">
                    <a:noFill/>
                  </a:ln>
                  <a:gradFill>
                    <a:gsLst>
                      <a:gs pos="93860">
                        <a:srgbClr val="505050"/>
                      </a:gs>
                      <a:gs pos="78571">
                        <a:srgbClr val="505050"/>
                      </a:gs>
                    </a:gsLst>
                    <a:lin ang="5400000" scaled="0"/>
                  </a:gradFill>
                  <a:latin typeface="Segoe UI"/>
                  <a:cs typeface="Segoe UI Semilight" panose="020B0402040204020203" pitchFamily="34" charset="0"/>
                </a:rPr>
                <a:t>Insights</a:t>
              </a:r>
            </a:p>
          </p:txBody>
        </p:sp>
        <p:grpSp>
          <p:nvGrpSpPr>
            <p:cNvPr id="15" name="Group 14"/>
            <p:cNvGrpSpPr>
              <a:grpSpLocks noChangeAspect="1"/>
            </p:cNvGrpSpPr>
            <p:nvPr/>
          </p:nvGrpSpPr>
          <p:grpSpPr>
            <a:xfrm>
              <a:off x="4395861" y="3262594"/>
              <a:ext cx="3581987" cy="2386677"/>
              <a:chOff x="4374238" y="2897183"/>
              <a:chExt cx="3687484" cy="2456970"/>
            </a:xfrm>
          </p:grpSpPr>
          <p:pic>
            <p:nvPicPr>
              <p:cNvPr id="148" name="Picture 14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0881" y="3106740"/>
                <a:ext cx="3288099" cy="2227260"/>
              </a:xfrm>
              <a:prstGeom prst="rect">
                <a:avLst/>
              </a:prstGeom>
            </p:spPr>
          </p:pic>
          <p:sp>
            <p:nvSpPr>
              <p:cNvPr id="39" name="Freeform 38"/>
              <p:cNvSpPr>
                <a:spLocks/>
              </p:cNvSpPr>
              <p:nvPr/>
            </p:nvSpPr>
            <p:spPr bwMode="auto">
              <a:xfrm flipH="1">
                <a:off x="4374238" y="2897183"/>
                <a:ext cx="3687484" cy="2456970"/>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182854" tIns="146283" rIns="182854" bIns="146283" numCol="1" anchor="t" anchorCtr="0" compatLnSpc="1">
                <a:prstTxWarp prst="textNoShape">
                  <a:avLst/>
                </a:prstTxWarp>
                <a:noAutofit/>
              </a:bodyPr>
              <a:lstStyle/>
              <a:p>
                <a:pPr algn="ctr" defTabSz="932597"/>
                <a:endParaRPr lang="en-US" sz="1873" b="1">
                  <a:solidFill>
                    <a:srgbClr val="505050"/>
                  </a:solidFill>
                  <a:latin typeface="Segoe UI"/>
                </a:endParaRPr>
              </a:p>
            </p:txBody>
          </p:sp>
        </p:grpSp>
      </p:grpSp>
      <p:grpSp>
        <p:nvGrpSpPr>
          <p:cNvPr id="17" name="Group 16"/>
          <p:cNvGrpSpPr/>
          <p:nvPr/>
        </p:nvGrpSpPr>
        <p:grpSpPr>
          <a:xfrm>
            <a:off x="330480" y="2152934"/>
            <a:ext cx="3604872" cy="4813695"/>
            <a:chOff x="412554" y="1883285"/>
            <a:chExt cx="3605385" cy="4814377"/>
          </a:xfrm>
        </p:grpSpPr>
        <p:sp>
          <p:nvSpPr>
            <p:cNvPr id="9" name="Rectangle 8"/>
            <p:cNvSpPr/>
            <p:nvPr/>
          </p:nvSpPr>
          <p:spPr bwMode="auto">
            <a:xfrm>
              <a:off x="412554" y="1883285"/>
              <a:ext cx="3605385" cy="48143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597">
                <a:lnSpc>
                  <a:spcPct val="90000"/>
                </a:lnSpc>
              </a:pPr>
              <a:r>
                <a:rPr lang="en-US" sz="2800" b="1" spc="-30">
                  <a:ln w="3175">
                    <a:noFill/>
                  </a:ln>
                  <a:gradFill>
                    <a:gsLst>
                      <a:gs pos="93860">
                        <a:srgbClr val="505050"/>
                      </a:gs>
                      <a:gs pos="78571">
                        <a:srgbClr val="505050"/>
                      </a:gs>
                    </a:gsLst>
                    <a:lin ang="5400000" scaled="0"/>
                  </a:gradFill>
                  <a:latin typeface="Segoe UI"/>
                  <a:cs typeface="Segoe UI Semilight" panose="020B0402040204020203" pitchFamily="34" charset="0"/>
                </a:rPr>
                <a:t>Azure Portal</a:t>
              </a:r>
            </a:p>
          </p:txBody>
        </p:sp>
        <p:grpSp>
          <p:nvGrpSpPr>
            <p:cNvPr id="16" name="Group 15"/>
            <p:cNvGrpSpPr>
              <a:grpSpLocks noChangeAspect="1"/>
            </p:cNvGrpSpPr>
            <p:nvPr/>
          </p:nvGrpSpPr>
          <p:grpSpPr>
            <a:xfrm>
              <a:off x="430755" y="3262594"/>
              <a:ext cx="3581987" cy="2386677"/>
              <a:chOff x="329539" y="2905390"/>
              <a:chExt cx="3687484" cy="2456970"/>
            </a:xfrm>
          </p:grpSpPr>
          <p:sp>
            <p:nvSpPr>
              <p:cNvPr id="144" name="Freeform 143"/>
              <p:cNvSpPr>
                <a:spLocks/>
              </p:cNvSpPr>
              <p:nvPr/>
            </p:nvSpPr>
            <p:spPr bwMode="auto">
              <a:xfrm flipH="1">
                <a:off x="329539" y="2905390"/>
                <a:ext cx="3687484" cy="2456970"/>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182854" tIns="146283" rIns="182854" bIns="146283" numCol="1" anchor="t" anchorCtr="0" compatLnSpc="1">
                <a:prstTxWarp prst="textNoShape">
                  <a:avLst/>
                </a:prstTxWarp>
                <a:noAutofit/>
              </a:bodyPr>
              <a:lstStyle/>
              <a:p>
                <a:pPr algn="ctr" defTabSz="932597"/>
                <a:endParaRPr lang="en-US" sz="1873" b="1">
                  <a:solidFill>
                    <a:srgbClr val="505050"/>
                  </a:solidFill>
                  <a:latin typeface="Segoe UI"/>
                </a:endParaRPr>
              </a:p>
            </p:txBody>
          </p:sp>
          <p:grpSp>
            <p:nvGrpSpPr>
              <p:cNvPr id="12" name="Group 11"/>
              <p:cNvGrpSpPr/>
              <p:nvPr/>
            </p:nvGrpSpPr>
            <p:grpSpPr>
              <a:xfrm>
                <a:off x="530935" y="3117731"/>
                <a:ext cx="3308803" cy="1861241"/>
                <a:chOff x="522370" y="3075602"/>
                <a:chExt cx="3221488" cy="1799293"/>
              </a:xfrm>
            </p:grpSpPr>
            <p:pic>
              <p:nvPicPr>
                <p:cNvPr id="8" name="Picture 7"/>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2370" y="3075602"/>
                  <a:ext cx="471730" cy="1799293"/>
                </a:xfrm>
                <a:prstGeom prst="rect">
                  <a:avLst/>
                </a:prstGeom>
              </p:spPr>
            </p:pic>
            <p:grpSp>
              <p:nvGrpSpPr>
                <p:cNvPr id="7" name="Group 6"/>
                <p:cNvGrpSpPr/>
                <p:nvPr/>
              </p:nvGrpSpPr>
              <p:grpSpPr>
                <a:xfrm>
                  <a:off x="990711" y="3075602"/>
                  <a:ext cx="2753147" cy="1799292"/>
                  <a:chOff x="3910748" y="3287864"/>
                  <a:chExt cx="2923831" cy="1912158"/>
                </a:xfrm>
              </p:grpSpPr>
              <p:pic>
                <p:nvPicPr>
                  <p:cNvPr id="3" name="Picture 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910748" y="3287864"/>
                    <a:ext cx="2923831" cy="1912158"/>
                  </a:xfrm>
                  <a:prstGeom prst="rect">
                    <a:avLst/>
                  </a:prstGeom>
                </p:spPr>
              </p:pic>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365545" y="4225911"/>
                    <a:ext cx="1417144" cy="755392"/>
                  </a:xfrm>
                  <a:prstGeom prst="rect">
                    <a:avLst/>
                  </a:prstGeom>
                </p:spPr>
              </p:pic>
              <p:sp>
                <p:nvSpPr>
                  <p:cNvPr id="6" name="Rectangle 5"/>
                  <p:cNvSpPr/>
                  <p:nvPr/>
                </p:nvSpPr>
                <p:spPr bwMode="auto">
                  <a:xfrm>
                    <a:off x="5387703" y="4981303"/>
                    <a:ext cx="1367246" cy="1770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b="1"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sp>
        <p:nvSpPr>
          <p:cNvPr id="2" name="Title 1"/>
          <p:cNvSpPr>
            <a:spLocks noGrp="1"/>
          </p:cNvSpPr>
          <p:nvPr>
            <p:ph type="title"/>
          </p:nvPr>
        </p:nvSpPr>
        <p:spPr>
          <a:xfrm>
            <a:off x="275482" y="295731"/>
            <a:ext cx="11887878" cy="917444"/>
          </a:xfrm>
        </p:spPr>
        <p:txBody>
          <a:bodyPr/>
          <a:lstStyle/>
          <a:p>
            <a:pPr lvl="0">
              <a:defRPr/>
            </a:pPr>
            <a:r>
              <a:rPr lang="en-US" sz="4488">
                <a:gradFill>
                  <a:gsLst>
                    <a:gs pos="1250">
                      <a:schemeClr val="bg1"/>
                    </a:gs>
                    <a:gs pos="100000">
                      <a:schemeClr val="bg1"/>
                    </a:gs>
                  </a:gsLst>
                  <a:lin ang="5400000" scaled="0"/>
                </a:gradFill>
              </a:rPr>
              <a:t>Manage applications proactively</a:t>
            </a:r>
          </a:p>
        </p:txBody>
      </p:sp>
      <p:sp>
        <p:nvSpPr>
          <p:cNvPr id="28" name="Freeform 13"/>
          <p:cNvSpPr>
            <a:spLocks noChangeAspect="1" noEditPoints="1"/>
          </p:cNvSpPr>
          <p:nvPr/>
        </p:nvSpPr>
        <p:spPr bwMode="auto">
          <a:xfrm>
            <a:off x="10619354" y="308769"/>
            <a:ext cx="818871" cy="56710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
        <p:nvSpPr>
          <p:cNvPr id="29" name="Rectangle 28"/>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App Innovation</a:t>
            </a:r>
          </a:p>
        </p:txBody>
      </p:sp>
    </p:spTree>
    <p:extLst>
      <p:ext uri="{BB962C8B-B14F-4D97-AF65-F5344CB8AC3E}">
        <p14:creationId xmlns:p14="http://schemas.microsoft.com/office/powerpoint/2010/main" val="186357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800" fill="hold"/>
                                        <p:tgtEl>
                                          <p:spTgt spid="17"/>
                                        </p:tgtEl>
                                        <p:attrNameLst>
                                          <p:attrName>ppt_x</p:attrName>
                                        </p:attrNameLst>
                                      </p:cBhvr>
                                      <p:tavLst>
                                        <p:tav tm="0">
                                          <p:val>
                                            <p:strVal val="0-#ppt_w/2"/>
                                          </p:val>
                                        </p:tav>
                                        <p:tav tm="100000">
                                          <p:val>
                                            <p:strVal val="#ppt_x"/>
                                          </p:val>
                                        </p:tav>
                                      </p:tavLst>
                                    </p:anim>
                                    <p:anim calcmode="lin" valueType="num">
                                      <p:cBhvr additive="base">
                                        <p:cTn id="8" dur="8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800" fill="hold"/>
                                        <p:tgtEl>
                                          <p:spTgt spid="18"/>
                                        </p:tgtEl>
                                        <p:attrNameLst>
                                          <p:attrName>ppt_x</p:attrName>
                                        </p:attrNameLst>
                                      </p:cBhvr>
                                      <p:tavLst>
                                        <p:tav tm="0">
                                          <p:val>
                                            <p:strVal val="0-#ppt_w/2"/>
                                          </p:val>
                                        </p:tav>
                                        <p:tav tm="100000">
                                          <p:val>
                                            <p:strVal val="#ppt_x"/>
                                          </p:val>
                                        </p:tav>
                                      </p:tavLst>
                                    </p:anim>
                                    <p:anim calcmode="lin" valueType="num">
                                      <p:cBhvr additive="base">
                                        <p:cTn id="12" dur="8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0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800" fill="hold"/>
                                        <p:tgtEl>
                                          <p:spTgt spid="25"/>
                                        </p:tgtEl>
                                        <p:attrNameLst>
                                          <p:attrName>ppt_x</p:attrName>
                                        </p:attrNameLst>
                                      </p:cBhvr>
                                      <p:tavLst>
                                        <p:tav tm="0">
                                          <p:val>
                                            <p:strVal val="0-#ppt_w/2"/>
                                          </p:val>
                                        </p:tav>
                                        <p:tav tm="100000">
                                          <p:val>
                                            <p:strVal val="#ppt_x"/>
                                          </p:val>
                                        </p:tav>
                                      </p:tavLst>
                                    </p:anim>
                                    <p:anim calcmode="lin" valueType="num">
                                      <p:cBhvr additive="base">
                                        <p:cTn id="16" dur="800" fill="hold"/>
                                        <p:tgtEl>
                                          <p:spTgt spid="25"/>
                                        </p:tgtEl>
                                        <p:attrNameLst>
                                          <p:attrName>ppt_y</p:attrName>
                                        </p:attrNameLst>
                                      </p:cBhvr>
                                      <p:tavLst>
                                        <p:tav tm="0">
                                          <p:val>
                                            <p:strVal val="#ppt_y"/>
                                          </p:val>
                                        </p:tav>
                                        <p:tav tm="100000">
                                          <p:val>
                                            <p:strVal val="#ppt_y"/>
                                          </p:val>
                                        </p:tav>
                                      </p:tavLst>
                                    </p:anim>
                                  </p:childTnLst>
                                </p:cTn>
                              </p:par>
                              <p:par>
                                <p:cTn id="17" presetID="2" presetClass="entr" presetSubtype="4" fill="hold" grpId="0" nodeType="withEffect">
                                  <p:stCondLst>
                                    <p:cond delay="20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ppt_x"/>
                                          </p:val>
                                        </p:tav>
                                        <p:tav tm="100000">
                                          <p:val>
                                            <p:strVal val="#ppt_x"/>
                                          </p:val>
                                        </p:tav>
                                      </p:tavLst>
                                    </p:anim>
                                    <p:anim calcmode="lin" valueType="num">
                                      <p:cBhvr additive="base">
                                        <p:cTn id="20" dur="500" fill="hold"/>
                                        <p:tgtEl>
                                          <p:spTgt spid="3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200"/>
                                  </p:stCondLst>
                                  <p:childTnLst>
                                    <p:set>
                                      <p:cBhvr>
                                        <p:cTn id="22" dur="1" fill="hold">
                                          <p:stCondLst>
                                            <p:cond delay="0"/>
                                          </p:stCondLst>
                                        </p:cTn>
                                        <p:tgtEl>
                                          <p:spTgt spid="30"/>
                                        </p:tgtEl>
                                        <p:attrNameLst>
                                          <p:attrName>style.visibility</p:attrName>
                                        </p:attrNameLst>
                                      </p:cBhvr>
                                      <p:to>
                                        <p:strVal val="visible"/>
                                      </p:to>
                                    </p:set>
                                    <p:anim calcmode="lin" valueType="num">
                                      <p:cBhvr additive="base">
                                        <p:cTn id="23" dur="500" fill="hold"/>
                                        <p:tgtEl>
                                          <p:spTgt spid="30"/>
                                        </p:tgtEl>
                                        <p:attrNameLst>
                                          <p:attrName>ppt_x</p:attrName>
                                        </p:attrNameLst>
                                      </p:cBhvr>
                                      <p:tavLst>
                                        <p:tav tm="0">
                                          <p:val>
                                            <p:strVal val="#ppt_x"/>
                                          </p:val>
                                        </p:tav>
                                        <p:tav tm="100000">
                                          <p:val>
                                            <p:strVal val="#ppt_x"/>
                                          </p:val>
                                        </p:tav>
                                      </p:tavLst>
                                    </p:anim>
                                    <p:anim calcmode="lin" valueType="num">
                                      <p:cBhvr additive="base">
                                        <p:cTn id="24" dur="500" fill="hold"/>
                                        <p:tgtEl>
                                          <p:spTgt spid="3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20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ppt_x"/>
                                          </p:val>
                                        </p:tav>
                                        <p:tav tm="100000">
                                          <p:val>
                                            <p:strVal val="#ppt_x"/>
                                          </p:val>
                                        </p:tav>
                                      </p:tavLst>
                                    </p:anim>
                                    <p:anim calcmode="lin" valueType="num">
                                      <p:cBhvr additive="base">
                                        <p:cTn id="2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0"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bwMode="auto">
          <a:xfrm>
            <a:off x="74644" y="1482690"/>
            <a:ext cx="7750968" cy="54373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p:cNvSpPr/>
          <p:nvPr/>
        </p:nvSpPr>
        <p:spPr bwMode="auto">
          <a:xfrm>
            <a:off x="883" y="496"/>
            <a:ext cx="12434711" cy="158778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pPr lvl="0">
              <a:defRPr/>
            </a:pPr>
            <a:r>
              <a:rPr lang="en-US" sz="4488">
                <a:gradFill>
                  <a:gsLst>
                    <a:gs pos="1250">
                      <a:schemeClr val="bg1"/>
                    </a:gs>
                    <a:gs pos="100000">
                      <a:schemeClr val="bg1"/>
                    </a:gs>
                  </a:gsLst>
                  <a:lin ang="5400000" scaled="0"/>
                </a:gradFill>
              </a:rPr>
              <a:t>Deliver native mobile apps seamlessly</a:t>
            </a:r>
          </a:p>
        </p:txBody>
      </p:sp>
      <p:grpSp>
        <p:nvGrpSpPr>
          <p:cNvPr id="94" name="Group 93"/>
          <p:cNvGrpSpPr/>
          <p:nvPr/>
        </p:nvGrpSpPr>
        <p:grpSpPr>
          <a:xfrm>
            <a:off x="497325" y="2559471"/>
            <a:ext cx="6906285" cy="3930921"/>
            <a:chOff x="579437" y="1145432"/>
            <a:chExt cx="10210800" cy="5811787"/>
          </a:xfrm>
        </p:grpSpPr>
        <p:sp>
          <p:nvSpPr>
            <p:cNvPr id="95" name="Right Arrow 94"/>
            <p:cNvSpPr/>
            <p:nvPr/>
          </p:nvSpPr>
          <p:spPr>
            <a:xfrm rot="16200000">
              <a:off x="1551351" y="4233503"/>
              <a:ext cx="1736782" cy="288000"/>
            </a:xfrm>
            <a:prstGeom prst="rightArrow">
              <a:avLst>
                <a:gd name="adj1" fmla="val 50000"/>
                <a:gd name="adj2" fmla="val 73537"/>
              </a:avLst>
            </a:prstGeom>
            <a:solidFill>
              <a:schemeClr val="tx1"/>
            </a:solidFill>
            <a:ln w="1079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00B0F0"/>
                </a:solidFill>
                <a:latin typeface="Segoe UI"/>
              </a:endParaRPr>
            </a:p>
          </p:txBody>
        </p:sp>
        <p:sp>
          <p:nvSpPr>
            <p:cNvPr id="96" name="Bent Arrow 95"/>
            <p:cNvSpPr/>
            <p:nvPr/>
          </p:nvSpPr>
          <p:spPr>
            <a:xfrm rot="10800000">
              <a:off x="3021733" y="3320227"/>
              <a:ext cx="6903678" cy="2403864"/>
            </a:xfrm>
            <a:prstGeom prst="bentArrow">
              <a:avLst>
                <a:gd name="adj1" fmla="val 4873"/>
                <a:gd name="adj2" fmla="val 8600"/>
                <a:gd name="adj3" fmla="val 13322"/>
                <a:gd name="adj4" fmla="val 2947"/>
              </a:avLst>
            </a:prstGeom>
            <a:solidFill>
              <a:schemeClr val="tx1"/>
            </a:solidFill>
            <a:ln w="1079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00B0F0"/>
                </a:solidFill>
                <a:latin typeface="Segoe UI"/>
              </a:endParaRPr>
            </a:p>
          </p:txBody>
        </p:sp>
        <p:sp>
          <p:nvSpPr>
            <p:cNvPr id="97" name="Rounded Rectangle 96"/>
            <p:cNvSpPr/>
            <p:nvPr/>
          </p:nvSpPr>
          <p:spPr bwMode="auto">
            <a:xfrm>
              <a:off x="2058820" y="4184015"/>
              <a:ext cx="721843" cy="721843"/>
            </a:xfrm>
            <a:prstGeom prst="round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ounded Rectangle 97"/>
            <p:cNvSpPr/>
            <p:nvPr/>
          </p:nvSpPr>
          <p:spPr bwMode="auto">
            <a:xfrm>
              <a:off x="1216575" y="4184015"/>
              <a:ext cx="721843" cy="721843"/>
            </a:xfrm>
            <a:prstGeom prst="round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ight Arrow 102"/>
            <p:cNvSpPr/>
            <p:nvPr/>
          </p:nvSpPr>
          <p:spPr>
            <a:xfrm rot="16200000">
              <a:off x="709105" y="4233503"/>
              <a:ext cx="1736782" cy="288000"/>
            </a:xfrm>
            <a:prstGeom prst="rightArrow">
              <a:avLst>
                <a:gd name="adj1" fmla="val 50000"/>
                <a:gd name="adj2" fmla="val 73537"/>
              </a:avLst>
            </a:prstGeom>
            <a:solidFill>
              <a:schemeClr val="tx1"/>
            </a:solidFill>
            <a:ln w="1079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00B0F0"/>
                </a:solidFill>
                <a:latin typeface="Segoe UI"/>
              </a:endParaRPr>
            </a:p>
          </p:txBody>
        </p:sp>
        <p:sp>
          <p:nvSpPr>
            <p:cNvPr id="104" name="Right Arrow 103"/>
            <p:cNvSpPr/>
            <p:nvPr/>
          </p:nvSpPr>
          <p:spPr>
            <a:xfrm>
              <a:off x="2888139" y="2354989"/>
              <a:ext cx="1772730" cy="552481"/>
            </a:xfrm>
            <a:prstGeom prst="rightArrow">
              <a:avLst>
                <a:gd name="adj1" fmla="val 50000"/>
                <a:gd name="adj2" fmla="val 73537"/>
              </a:avLst>
            </a:prstGeom>
            <a:solidFill>
              <a:schemeClr val="tx1"/>
            </a:solidFill>
            <a:ln w="1079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sp>
          <p:nvSpPr>
            <p:cNvPr id="105" name="Right Arrow 104"/>
            <p:cNvSpPr/>
            <p:nvPr/>
          </p:nvSpPr>
          <p:spPr>
            <a:xfrm>
              <a:off x="5348862" y="2354989"/>
              <a:ext cx="1811051" cy="552481"/>
            </a:xfrm>
            <a:prstGeom prst="rightArrow">
              <a:avLst>
                <a:gd name="adj1" fmla="val 50000"/>
                <a:gd name="adj2" fmla="val 73537"/>
              </a:avLst>
            </a:prstGeom>
            <a:solidFill>
              <a:schemeClr val="tx1"/>
            </a:solidFill>
            <a:ln w="1079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sp>
          <p:nvSpPr>
            <p:cNvPr id="106" name="Right Arrow 105"/>
            <p:cNvSpPr/>
            <p:nvPr/>
          </p:nvSpPr>
          <p:spPr>
            <a:xfrm>
              <a:off x="7795588" y="2354989"/>
              <a:ext cx="1128250" cy="552481"/>
            </a:xfrm>
            <a:prstGeom prst="rightArrow">
              <a:avLst>
                <a:gd name="adj1" fmla="val 50000"/>
                <a:gd name="adj2" fmla="val 73537"/>
              </a:avLst>
            </a:prstGeom>
            <a:solidFill>
              <a:schemeClr val="tx1"/>
            </a:solidFill>
            <a:ln w="1079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sp>
          <p:nvSpPr>
            <p:cNvPr id="107" name="TextBox 106"/>
            <p:cNvSpPr txBox="1"/>
            <p:nvPr/>
          </p:nvSpPr>
          <p:spPr>
            <a:xfrm>
              <a:off x="671513" y="1169611"/>
              <a:ext cx="2874406" cy="674762"/>
            </a:xfrm>
            <a:prstGeom prst="rect">
              <a:avLst/>
            </a:prstGeom>
          </p:spPr>
          <p:txBody>
            <a:bodyPr vert="horz" wrap="square" lIns="93247" tIns="93247" rIns="93247" bIns="93247" rtlCol="0" anchor="ctr">
              <a:noAutofit/>
            </a:bodyPr>
            <a:lstStyle/>
            <a:p>
              <a:pPr marL="237961" indent="-237961" algn="ctr" defTabSz="932418"/>
              <a:r>
                <a:rPr lang="en-US" sz="1599" spc="-50">
                  <a:solidFill>
                    <a:srgbClr val="505050"/>
                  </a:solidFill>
                  <a:latin typeface="Segoe UI Semilight" panose="020B0402040204020203" pitchFamily="34" charset="0"/>
                  <a:ea typeface="Segoe UI" pitchFamily="34" charset="0"/>
                  <a:cs typeface="Segoe UI Semilight" panose="020B0402040204020203" pitchFamily="34" charset="0"/>
                </a:rPr>
                <a:t>Code Repository</a:t>
              </a:r>
            </a:p>
          </p:txBody>
        </p:sp>
        <p:sp>
          <p:nvSpPr>
            <p:cNvPr id="108" name="TextBox 107"/>
            <p:cNvSpPr txBox="1"/>
            <p:nvPr/>
          </p:nvSpPr>
          <p:spPr>
            <a:xfrm>
              <a:off x="2863694" y="4208150"/>
              <a:ext cx="1709773" cy="721842"/>
            </a:xfrm>
            <a:prstGeom prst="rect">
              <a:avLst/>
            </a:prstGeom>
          </p:spPr>
          <p:txBody>
            <a:bodyPr vert="horz" wrap="square" lIns="93247" tIns="93247" rIns="93247" bIns="93247" rtlCol="0" anchor="ctr">
              <a:noAutofit/>
            </a:bodyPr>
            <a:lstStyle/>
            <a:p>
              <a:pPr defTabSz="932418"/>
              <a:r>
                <a:rPr lang="en-US" sz="1599">
                  <a:solidFill>
                    <a:srgbClr val="505050"/>
                  </a:solidFill>
                  <a:latin typeface="Segoe UI Semilight" panose="020B0402040204020203" pitchFamily="34" charset="0"/>
                  <a:ea typeface="Segoe UI" pitchFamily="34" charset="0"/>
                  <a:cs typeface="Segoe UI Semilight" panose="020B0402040204020203" pitchFamily="34" charset="0"/>
                </a:rPr>
                <a:t>Backlog</a:t>
              </a:r>
            </a:p>
          </p:txBody>
        </p:sp>
        <p:sp>
          <p:nvSpPr>
            <p:cNvPr id="109" name="TextBox 108"/>
            <p:cNvSpPr txBox="1"/>
            <p:nvPr/>
          </p:nvSpPr>
          <p:spPr>
            <a:xfrm>
              <a:off x="3295224" y="1145432"/>
              <a:ext cx="2451635" cy="720880"/>
            </a:xfrm>
            <a:prstGeom prst="rect">
              <a:avLst/>
            </a:prstGeom>
          </p:spPr>
          <p:txBody>
            <a:bodyPr vert="horz" wrap="square" lIns="93247" tIns="93247" rIns="93247" bIns="93247" rtlCol="0" anchor="ctr">
              <a:noAutofit/>
            </a:bodyPr>
            <a:lstStyle/>
            <a:p>
              <a:pPr marL="237961" indent="-237961" algn="ctr" defTabSz="932418"/>
              <a:r>
                <a:rPr lang="en-US" sz="1599" spc="-50">
                  <a:solidFill>
                    <a:srgbClr val="505050"/>
                  </a:solidFill>
                  <a:latin typeface="Segoe UI Semilight" panose="020B0402040204020203" pitchFamily="34" charset="0"/>
                  <a:ea typeface="Segoe UI" pitchFamily="34" charset="0"/>
                  <a:cs typeface="Segoe UI Semilight" panose="020B0402040204020203" pitchFamily="34" charset="0"/>
                </a:rPr>
                <a:t>Build + Deploy</a:t>
              </a:r>
            </a:p>
          </p:txBody>
        </p:sp>
        <p:sp>
          <p:nvSpPr>
            <p:cNvPr id="110" name="TextBox 109"/>
            <p:cNvSpPr txBox="1"/>
            <p:nvPr/>
          </p:nvSpPr>
          <p:spPr>
            <a:xfrm>
              <a:off x="3325925" y="5594569"/>
              <a:ext cx="3435365" cy="388585"/>
            </a:xfrm>
            <a:prstGeom prst="rect">
              <a:avLst/>
            </a:prstGeom>
          </p:spPr>
          <p:txBody>
            <a:bodyPr vert="horz" wrap="square" lIns="93247" tIns="93247" rIns="93247" bIns="93247" rtlCol="0" anchor="ctr">
              <a:noAutofit/>
            </a:bodyPr>
            <a:lstStyle/>
            <a:p>
              <a:pPr algn="ctr" defTabSz="932418"/>
              <a:r>
                <a:rPr lang="en-US" sz="1632">
                  <a:solidFill>
                    <a:srgbClr val="505050"/>
                  </a:solidFill>
                  <a:latin typeface="Segoe UI Semilight" panose="020B0402040204020203" pitchFamily="34" charset="0"/>
                  <a:ea typeface="Segoe UI" pitchFamily="34" charset="0"/>
                  <a:cs typeface="Segoe UI Semilight" panose="020B0402040204020203" pitchFamily="34" charset="0"/>
                </a:rPr>
                <a:t>Monitor and improve</a:t>
              </a:r>
            </a:p>
          </p:txBody>
        </p:sp>
        <p:sp>
          <p:nvSpPr>
            <p:cNvPr id="111" name="Rounded Rectangle 110"/>
            <p:cNvSpPr/>
            <p:nvPr/>
          </p:nvSpPr>
          <p:spPr>
            <a:xfrm>
              <a:off x="1244343" y="1877038"/>
              <a:ext cx="1632056" cy="1632056"/>
            </a:xfrm>
            <a:prstGeom prst="roundRect">
              <a:avLst>
                <a:gd name="adj" fmla="val 0"/>
              </a:avLst>
            </a:prstGeom>
            <a:solidFill>
              <a:schemeClr val="accent1"/>
            </a:solidFill>
            <a:ln w="2857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pic>
          <p:nvPicPr>
            <p:cNvPr id="112" name="Picture 1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6033" y="4233113"/>
              <a:ext cx="565085" cy="591368"/>
            </a:xfrm>
            <a:prstGeom prst="rect">
              <a:avLst/>
            </a:prstGeom>
          </p:spPr>
        </p:pic>
        <p:sp>
          <p:nvSpPr>
            <p:cNvPr id="113" name="Rounded Rectangle 112"/>
            <p:cNvSpPr/>
            <p:nvPr/>
          </p:nvSpPr>
          <p:spPr>
            <a:xfrm>
              <a:off x="3716169" y="1877038"/>
              <a:ext cx="1632056" cy="1632056"/>
            </a:xfrm>
            <a:prstGeom prst="roundRect">
              <a:avLst>
                <a:gd name="adj" fmla="val 0"/>
              </a:avLst>
            </a:prstGeom>
            <a:solidFill>
              <a:schemeClr val="accent1"/>
            </a:solidFill>
            <a:ln w="2857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pic>
          <p:nvPicPr>
            <p:cNvPr id="114" name="Picture 1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43280" y="4233113"/>
              <a:ext cx="565085" cy="591368"/>
            </a:xfrm>
            <a:prstGeom prst="rect">
              <a:avLst/>
            </a:prstGeom>
          </p:spPr>
        </p:pic>
        <p:pic>
          <p:nvPicPr>
            <p:cNvPr id="116" name="Picture 1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61290" y="4686668"/>
              <a:ext cx="2276347" cy="1662577"/>
            </a:xfrm>
            <a:prstGeom prst="rect">
              <a:avLst/>
            </a:prstGeom>
          </p:spPr>
        </p:pic>
        <p:grpSp>
          <p:nvGrpSpPr>
            <p:cNvPr id="117" name="Group 116"/>
            <p:cNvGrpSpPr/>
            <p:nvPr/>
          </p:nvGrpSpPr>
          <p:grpSpPr>
            <a:xfrm>
              <a:off x="1417637" y="2121694"/>
              <a:ext cx="1208943" cy="1150980"/>
              <a:chOff x="1628786" y="2094289"/>
              <a:chExt cx="1185346" cy="1128515"/>
            </a:xfrm>
          </p:grpSpPr>
          <p:pic>
            <p:nvPicPr>
              <p:cNvPr id="187" name="Picture 18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28786" y="2588363"/>
                <a:ext cx="455690" cy="634441"/>
              </a:xfrm>
              <a:prstGeom prst="rect">
                <a:avLst/>
              </a:prstGeom>
            </p:spPr>
          </p:pic>
          <p:pic>
            <p:nvPicPr>
              <p:cNvPr id="189" name="Picture 18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86926" y="2094289"/>
                <a:ext cx="727206" cy="725111"/>
              </a:xfrm>
              <a:prstGeom prst="rect">
                <a:avLst/>
              </a:prstGeom>
            </p:spPr>
          </p:pic>
        </p:grpSp>
        <p:pic>
          <p:nvPicPr>
            <p:cNvPr id="118" name="Picture 11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10155" y="2110189"/>
              <a:ext cx="1243471" cy="1042178"/>
            </a:xfrm>
            <a:prstGeom prst="rect">
              <a:avLst/>
            </a:prstGeom>
          </p:spPr>
        </p:pic>
        <p:sp>
          <p:nvSpPr>
            <p:cNvPr id="124" name="TextBox 123"/>
            <p:cNvSpPr txBox="1"/>
            <p:nvPr/>
          </p:nvSpPr>
          <p:spPr>
            <a:xfrm>
              <a:off x="5543560" y="1166810"/>
              <a:ext cx="2985023" cy="732518"/>
            </a:xfrm>
            <a:prstGeom prst="rect">
              <a:avLst/>
            </a:prstGeom>
          </p:spPr>
          <p:txBody>
            <a:bodyPr vert="horz" wrap="square" lIns="93247" tIns="93247" rIns="93247" bIns="93247" rtlCol="0" anchor="ctr">
              <a:noAutofit/>
            </a:bodyPr>
            <a:lstStyle/>
            <a:p>
              <a:pPr marL="237961" indent="-237961" algn="ctr" defTabSz="932418"/>
              <a:r>
                <a:rPr lang="en-US" sz="1599" spc="-50">
                  <a:solidFill>
                    <a:srgbClr val="505050"/>
                  </a:solidFill>
                  <a:latin typeface="Segoe UI Semilight" panose="020B0402040204020203" pitchFamily="34" charset="0"/>
                  <a:ea typeface="Segoe UI" pitchFamily="34" charset="0"/>
                  <a:cs typeface="Segoe UI Semilight" panose="020B0402040204020203" pitchFamily="34" charset="0"/>
                </a:rPr>
                <a:t>Automated Testing</a:t>
              </a:r>
            </a:p>
          </p:txBody>
        </p:sp>
        <p:sp>
          <p:nvSpPr>
            <p:cNvPr id="125" name="Rounded Rectangle 124"/>
            <p:cNvSpPr/>
            <p:nvPr/>
          </p:nvSpPr>
          <p:spPr>
            <a:xfrm>
              <a:off x="6208346" y="1877038"/>
              <a:ext cx="1632056" cy="1632056"/>
            </a:xfrm>
            <a:prstGeom prst="roundRect">
              <a:avLst>
                <a:gd name="adj" fmla="val 0"/>
              </a:avLst>
            </a:prstGeom>
            <a:solidFill>
              <a:schemeClr val="accent1"/>
            </a:solidFill>
            <a:ln w="2857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sp>
          <p:nvSpPr>
            <p:cNvPr id="126" name="TextBox 125"/>
            <p:cNvSpPr txBox="1"/>
            <p:nvPr/>
          </p:nvSpPr>
          <p:spPr>
            <a:xfrm>
              <a:off x="8846714" y="1346122"/>
              <a:ext cx="1943523" cy="388585"/>
            </a:xfrm>
            <a:prstGeom prst="rect">
              <a:avLst/>
            </a:prstGeom>
          </p:spPr>
          <p:txBody>
            <a:bodyPr vert="horz" wrap="square" lIns="93247" tIns="93247" rIns="93247" bIns="93247" rtlCol="0" anchor="ctr">
              <a:noAutofit/>
            </a:bodyPr>
            <a:lstStyle/>
            <a:p>
              <a:pPr marL="237961" indent="-237961" algn="ctr" defTabSz="932418"/>
              <a:r>
                <a:rPr lang="en-US" sz="1599" spc="-50">
                  <a:solidFill>
                    <a:srgbClr val="505050"/>
                  </a:solidFill>
                  <a:latin typeface="Segoe UI Semilight" panose="020B0402040204020203" pitchFamily="34" charset="0"/>
                  <a:ea typeface="Segoe UI" pitchFamily="34" charset="0"/>
                  <a:cs typeface="Segoe UI Semilight" panose="020B0402040204020203" pitchFamily="34" charset="0"/>
                </a:rPr>
                <a:t>User Testing</a:t>
              </a:r>
            </a:p>
          </p:txBody>
        </p:sp>
        <p:sp>
          <p:nvSpPr>
            <p:cNvPr id="127" name="Rounded Rectangle 126"/>
            <p:cNvSpPr/>
            <p:nvPr/>
          </p:nvSpPr>
          <p:spPr>
            <a:xfrm>
              <a:off x="9002447" y="1877038"/>
              <a:ext cx="1632056" cy="1632056"/>
            </a:xfrm>
            <a:prstGeom prst="roundRect">
              <a:avLst>
                <a:gd name="adj" fmla="val 0"/>
              </a:avLst>
            </a:prstGeom>
            <a:solidFill>
              <a:srgbClr val="87C600"/>
            </a:solidFill>
            <a:ln w="28575" cap="flat" cmpd="sng" algn="ctr">
              <a:noFill/>
              <a:prstDash val="solid"/>
            </a:ln>
            <a:effectLst/>
          </p:spPr>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32418">
                <a:defRPr/>
              </a:pPr>
              <a:endParaRPr lang="en-US" sz="1224" kern="0" err="1">
                <a:solidFill>
                  <a:srgbClr val="FFFFFF"/>
                </a:solidFill>
                <a:latin typeface="Segoe UI"/>
              </a:endParaRPr>
            </a:p>
          </p:txBody>
        </p:sp>
        <p:pic>
          <p:nvPicPr>
            <p:cNvPr id="128" name="Picture 127"/>
            <p:cNvPicPr>
              <a:picLocks noChangeAspect="1"/>
            </p:cNvPicPr>
            <p:nvPr/>
          </p:nvPicPr>
          <p:blipFill>
            <a:blip r:embed="rId8"/>
            <a:stretch>
              <a:fillRect/>
            </a:stretch>
          </p:blipFill>
          <p:spPr>
            <a:xfrm>
              <a:off x="6510269" y="2191775"/>
              <a:ext cx="1004562" cy="1002582"/>
            </a:xfrm>
            <a:prstGeom prst="rect">
              <a:avLst/>
            </a:prstGeom>
          </p:spPr>
        </p:pic>
        <p:grpSp>
          <p:nvGrpSpPr>
            <p:cNvPr id="129" name="Group 128"/>
            <p:cNvGrpSpPr/>
            <p:nvPr/>
          </p:nvGrpSpPr>
          <p:grpSpPr>
            <a:xfrm>
              <a:off x="4379774" y="3112294"/>
              <a:ext cx="1686063" cy="695545"/>
              <a:chOff x="4633536" y="3025775"/>
              <a:chExt cx="1686302" cy="695644"/>
            </a:xfrm>
          </p:grpSpPr>
          <p:sp>
            <p:nvSpPr>
              <p:cNvPr id="166" name="AutoShape 30"/>
              <p:cNvSpPr>
                <a:spLocks noChangeAspect="1" noChangeArrowheads="1" noTextEdit="1"/>
              </p:cNvSpPr>
              <p:nvPr/>
            </p:nvSpPr>
            <p:spPr bwMode="auto">
              <a:xfrm>
                <a:off x="5151438" y="3025775"/>
                <a:ext cx="116840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67" name="Rectangle 39"/>
              <p:cNvSpPr>
                <a:spLocks noChangeArrowheads="1"/>
              </p:cNvSpPr>
              <p:nvPr/>
            </p:nvSpPr>
            <p:spPr bwMode="auto">
              <a:xfrm>
                <a:off x="5389563" y="3027363"/>
                <a:ext cx="754063" cy="512763"/>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68" name="Oval 40"/>
              <p:cNvSpPr>
                <a:spLocks noChangeArrowheads="1"/>
              </p:cNvSpPr>
              <p:nvPr/>
            </p:nvSpPr>
            <p:spPr bwMode="auto">
              <a:xfrm>
                <a:off x="5759451" y="3038475"/>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70" name="Rectangle 41"/>
              <p:cNvSpPr>
                <a:spLocks noChangeArrowheads="1"/>
              </p:cNvSpPr>
              <p:nvPr/>
            </p:nvSpPr>
            <p:spPr bwMode="auto">
              <a:xfrm>
                <a:off x="5414963" y="3067050"/>
                <a:ext cx="703263" cy="450850"/>
              </a:xfrm>
              <a:prstGeom prst="rect">
                <a:avLst/>
              </a:pr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71" name="Freeform 42"/>
              <p:cNvSpPr>
                <a:spLocks/>
              </p:cNvSpPr>
              <p:nvPr/>
            </p:nvSpPr>
            <p:spPr bwMode="auto">
              <a:xfrm>
                <a:off x="5272088" y="3548063"/>
                <a:ext cx="973138" cy="39688"/>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75" name="Freeform 47"/>
              <p:cNvSpPr>
                <a:spLocks/>
              </p:cNvSpPr>
              <p:nvPr/>
            </p:nvSpPr>
            <p:spPr bwMode="auto">
              <a:xfrm>
                <a:off x="5635626" y="3194050"/>
                <a:ext cx="254000" cy="228600"/>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77" name="Freeform 48"/>
              <p:cNvSpPr>
                <a:spLocks/>
              </p:cNvSpPr>
              <p:nvPr/>
            </p:nvSpPr>
            <p:spPr bwMode="auto">
              <a:xfrm>
                <a:off x="5768976" y="3125788"/>
                <a:ext cx="61913" cy="6826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grpSp>
            <p:nvGrpSpPr>
              <p:cNvPr id="178" name="Group 177"/>
              <p:cNvGrpSpPr/>
              <p:nvPr/>
            </p:nvGrpSpPr>
            <p:grpSpPr>
              <a:xfrm>
                <a:off x="4633536" y="3161031"/>
                <a:ext cx="974725" cy="560388"/>
                <a:chOff x="4084638" y="3027363"/>
                <a:chExt cx="974725" cy="560388"/>
              </a:xfrm>
            </p:grpSpPr>
            <p:sp>
              <p:nvSpPr>
                <p:cNvPr id="179" name="Rectangle 43"/>
                <p:cNvSpPr>
                  <a:spLocks noChangeArrowheads="1"/>
                </p:cNvSpPr>
                <p:nvPr/>
              </p:nvSpPr>
              <p:spPr bwMode="auto">
                <a:xfrm>
                  <a:off x="4200526" y="3027363"/>
                  <a:ext cx="754063" cy="512763"/>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0" name="Oval 44"/>
                <p:cNvSpPr>
                  <a:spLocks noChangeArrowheads="1"/>
                </p:cNvSpPr>
                <p:nvPr/>
              </p:nvSpPr>
              <p:spPr bwMode="auto">
                <a:xfrm>
                  <a:off x="4570413" y="3038475"/>
                  <a:ext cx="12700" cy="12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1" name="Rectangle 45"/>
                <p:cNvSpPr>
                  <a:spLocks noChangeArrowheads="1"/>
                </p:cNvSpPr>
                <p:nvPr/>
              </p:nvSpPr>
              <p:spPr bwMode="auto">
                <a:xfrm>
                  <a:off x="4225926" y="3067050"/>
                  <a:ext cx="704850" cy="45085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2" name="Freeform 46"/>
                <p:cNvSpPr>
                  <a:spLocks/>
                </p:cNvSpPr>
                <p:nvPr/>
              </p:nvSpPr>
              <p:spPr bwMode="auto">
                <a:xfrm>
                  <a:off x="4084638" y="3548063"/>
                  <a:ext cx="974725" cy="39688"/>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3" name="Freeform 49"/>
                <p:cNvSpPr>
                  <a:spLocks/>
                </p:cNvSpPr>
                <p:nvPr/>
              </p:nvSpPr>
              <p:spPr bwMode="auto">
                <a:xfrm>
                  <a:off x="4556126" y="3155950"/>
                  <a:ext cx="144463" cy="127000"/>
                </a:xfrm>
                <a:custGeom>
                  <a:avLst/>
                  <a:gdLst>
                    <a:gd name="T0" fmla="*/ 0 w 91"/>
                    <a:gd name="T1" fmla="*/ 80 h 80"/>
                    <a:gd name="T2" fmla="*/ 91 w 91"/>
                    <a:gd name="T3" fmla="*/ 80 h 80"/>
                    <a:gd name="T4" fmla="*/ 91 w 91"/>
                    <a:gd name="T5" fmla="*/ 0 h 80"/>
                    <a:gd name="T6" fmla="*/ 0 w 91"/>
                    <a:gd name="T7" fmla="*/ 14 h 80"/>
                    <a:gd name="T8" fmla="*/ 0 w 91"/>
                    <a:gd name="T9" fmla="*/ 80 h 80"/>
                  </a:gdLst>
                  <a:ahLst/>
                  <a:cxnLst>
                    <a:cxn ang="0">
                      <a:pos x="T0" y="T1"/>
                    </a:cxn>
                    <a:cxn ang="0">
                      <a:pos x="T2" y="T3"/>
                    </a:cxn>
                    <a:cxn ang="0">
                      <a:pos x="T4" y="T5"/>
                    </a:cxn>
                    <a:cxn ang="0">
                      <a:pos x="T6" y="T7"/>
                    </a:cxn>
                    <a:cxn ang="0">
                      <a:pos x="T8" y="T9"/>
                    </a:cxn>
                  </a:cxnLst>
                  <a:rect l="0" t="0" r="r" b="b"/>
                  <a:pathLst>
                    <a:path w="91" h="80">
                      <a:moveTo>
                        <a:pt x="0" y="80"/>
                      </a:moveTo>
                      <a:lnTo>
                        <a:pt x="91" y="80"/>
                      </a:lnTo>
                      <a:lnTo>
                        <a:pt x="91" y="0"/>
                      </a:lnTo>
                      <a:lnTo>
                        <a:pt x="0" y="14"/>
                      </a:lnTo>
                      <a:lnTo>
                        <a:pt x="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4" name="Freeform 50"/>
                <p:cNvSpPr>
                  <a:spLocks/>
                </p:cNvSpPr>
                <p:nvPr/>
              </p:nvSpPr>
              <p:spPr bwMode="auto">
                <a:xfrm>
                  <a:off x="4440238" y="3178175"/>
                  <a:ext cx="111125" cy="104775"/>
                </a:xfrm>
                <a:custGeom>
                  <a:avLst/>
                  <a:gdLst>
                    <a:gd name="T0" fmla="*/ 70 w 70"/>
                    <a:gd name="T1" fmla="*/ 66 h 66"/>
                    <a:gd name="T2" fmla="*/ 70 w 70"/>
                    <a:gd name="T3" fmla="*/ 0 h 66"/>
                    <a:gd name="T4" fmla="*/ 0 w 70"/>
                    <a:gd name="T5" fmla="*/ 9 h 66"/>
                    <a:gd name="T6" fmla="*/ 0 w 70"/>
                    <a:gd name="T7" fmla="*/ 66 h 66"/>
                    <a:gd name="T8" fmla="*/ 70 w 70"/>
                    <a:gd name="T9" fmla="*/ 66 h 66"/>
                  </a:gdLst>
                  <a:ahLst/>
                  <a:cxnLst>
                    <a:cxn ang="0">
                      <a:pos x="T0" y="T1"/>
                    </a:cxn>
                    <a:cxn ang="0">
                      <a:pos x="T2" y="T3"/>
                    </a:cxn>
                    <a:cxn ang="0">
                      <a:pos x="T4" y="T5"/>
                    </a:cxn>
                    <a:cxn ang="0">
                      <a:pos x="T6" y="T7"/>
                    </a:cxn>
                    <a:cxn ang="0">
                      <a:pos x="T8" y="T9"/>
                    </a:cxn>
                  </a:cxnLst>
                  <a:rect l="0" t="0" r="r" b="b"/>
                  <a:pathLst>
                    <a:path w="70" h="66">
                      <a:moveTo>
                        <a:pt x="70" y="66"/>
                      </a:moveTo>
                      <a:lnTo>
                        <a:pt x="70" y="0"/>
                      </a:lnTo>
                      <a:lnTo>
                        <a:pt x="0" y="9"/>
                      </a:lnTo>
                      <a:lnTo>
                        <a:pt x="0" y="66"/>
                      </a:lnTo>
                      <a:lnTo>
                        <a:pt x="7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5" name="Freeform 51"/>
                <p:cNvSpPr>
                  <a:spLocks/>
                </p:cNvSpPr>
                <p:nvPr/>
              </p:nvSpPr>
              <p:spPr bwMode="auto">
                <a:xfrm>
                  <a:off x="4440238" y="3287713"/>
                  <a:ext cx="111125" cy="107950"/>
                </a:xfrm>
                <a:custGeom>
                  <a:avLst/>
                  <a:gdLst>
                    <a:gd name="T0" fmla="*/ 70 w 70"/>
                    <a:gd name="T1" fmla="*/ 0 h 68"/>
                    <a:gd name="T2" fmla="*/ 0 w 70"/>
                    <a:gd name="T3" fmla="*/ 0 h 68"/>
                    <a:gd name="T4" fmla="*/ 0 w 70"/>
                    <a:gd name="T5" fmla="*/ 59 h 68"/>
                    <a:gd name="T6" fmla="*/ 70 w 70"/>
                    <a:gd name="T7" fmla="*/ 68 h 68"/>
                    <a:gd name="T8" fmla="*/ 70 w 70"/>
                    <a:gd name="T9" fmla="*/ 0 h 68"/>
                  </a:gdLst>
                  <a:ahLst/>
                  <a:cxnLst>
                    <a:cxn ang="0">
                      <a:pos x="T0" y="T1"/>
                    </a:cxn>
                    <a:cxn ang="0">
                      <a:pos x="T2" y="T3"/>
                    </a:cxn>
                    <a:cxn ang="0">
                      <a:pos x="T4" y="T5"/>
                    </a:cxn>
                    <a:cxn ang="0">
                      <a:pos x="T6" y="T7"/>
                    </a:cxn>
                    <a:cxn ang="0">
                      <a:pos x="T8" y="T9"/>
                    </a:cxn>
                  </a:cxnLst>
                  <a:rect l="0" t="0" r="r" b="b"/>
                  <a:pathLst>
                    <a:path w="70" h="68">
                      <a:moveTo>
                        <a:pt x="70" y="0"/>
                      </a:moveTo>
                      <a:lnTo>
                        <a:pt x="0" y="0"/>
                      </a:lnTo>
                      <a:lnTo>
                        <a:pt x="0" y="59"/>
                      </a:lnTo>
                      <a:lnTo>
                        <a:pt x="70" y="68"/>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86" name="Freeform 52"/>
                <p:cNvSpPr>
                  <a:spLocks/>
                </p:cNvSpPr>
                <p:nvPr/>
              </p:nvSpPr>
              <p:spPr bwMode="auto">
                <a:xfrm>
                  <a:off x="4556126" y="3287713"/>
                  <a:ext cx="144463" cy="130175"/>
                </a:xfrm>
                <a:custGeom>
                  <a:avLst/>
                  <a:gdLst>
                    <a:gd name="T0" fmla="*/ 0 w 91"/>
                    <a:gd name="T1" fmla="*/ 0 h 82"/>
                    <a:gd name="T2" fmla="*/ 0 w 91"/>
                    <a:gd name="T3" fmla="*/ 68 h 82"/>
                    <a:gd name="T4" fmla="*/ 91 w 91"/>
                    <a:gd name="T5" fmla="*/ 82 h 82"/>
                    <a:gd name="T6" fmla="*/ 91 w 91"/>
                    <a:gd name="T7" fmla="*/ 0 h 82"/>
                    <a:gd name="T8" fmla="*/ 0 w 91"/>
                    <a:gd name="T9" fmla="*/ 0 h 82"/>
                  </a:gdLst>
                  <a:ahLst/>
                  <a:cxnLst>
                    <a:cxn ang="0">
                      <a:pos x="T0" y="T1"/>
                    </a:cxn>
                    <a:cxn ang="0">
                      <a:pos x="T2" y="T3"/>
                    </a:cxn>
                    <a:cxn ang="0">
                      <a:pos x="T4" y="T5"/>
                    </a:cxn>
                    <a:cxn ang="0">
                      <a:pos x="T6" y="T7"/>
                    </a:cxn>
                    <a:cxn ang="0">
                      <a:pos x="T8" y="T9"/>
                    </a:cxn>
                  </a:cxnLst>
                  <a:rect l="0" t="0" r="r" b="b"/>
                  <a:pathLst>
                    <a:path w="91" h="82">
                      <a:moveTo>
                        <a:pt x="0" y="0"/>
                      </a:moveTo>
                      <a:lnTo>
                        <a:pt x="0" y="68"/>
                      </a:lnTo>
                      <a:lnTo>
                        <a:pt x="91" y="82"/>
                      </a:lnTo>
                      <a:lnTo>
                        <a:pt x="9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grpSp>
        </p:grpSp>
        <p:sp>
          <p:nvSpPr>
            <p:cNvPr id="130" name="Freeform 5"/>
            <p:cNvSpPr>
              <a:spLocks/>
            </p:cNvSpPr>
            <p:nvPr/>
          </p:nvSpPr>
          <p:spPr bwMode="auto">
            <a:xfrm>
              <a:off x="579437" y="6787357"/>
              <a:ext cx="2801938" cy="169862"/>
            </a:xfrm>
            <a:custGeom>
              <a:avLst/>
              <a:gdLst>
                <a:gd name="T0" fmla="*/ 1523 w 1523"/>
                <a:gd name="T1" fmla="*/ 46 h 93"/>
                <a:gd name="T2" fmla="*/ 1476 w 1523"/>
                <a:gd name="T3" fmla="*/ 93 h 93"/>
                <a:gd name="T4" fmla="*/ 47 w 1523"/>
                <a:gd name="T5" fmla="*/ 93 h 93"/>
                <a:gd name="T6" fmla="*/ 0 w 1523"/>
                <a:gd name="T7" fmla="*/ 46 h 93"/>
                <a:gd name="T8" fmla="*/ 0 w 1523"/>
                <a:gd name="T9" fmla="*/ 46 h 93"/>
                <a:gd name="T10" fmla="*/ 47 w 1523"/>
                <a:gd name="T11" fmla="*/ 0 h 93"/>
                <a:gd name="T12" fmla="*/ 1476 w 1523"/>
                <a:gd name="T13" fmla="*/ 0 h 93"/>
                <a:gd name="T14" fmla="*/ 1523 w 1523"/>
                <a:gd name="T15" fmla="*/ 4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3" h="93">
                  <a:moveTo>
                    <a:pt x="1523" y="46"/>
                  </a:moveTo>
                  <a:cubicBezTo>
                    <a:pt x="1523" y="72"/>
                    <a:pt x="1502" y="93"/>
                    <a:pt x="1476" y="93"/>
                  </a:cubicBezTo>
                  <a:cubicBezTo>
                    <a:pt x="47" y="93"/>
                    <a:pt x="47" y="93"/>
                    <a:pt x="47" y="93"/>
                  </a:cubicBezTo>
                  <a:cubicBezTo>
                    <a:pt x="21" y="93"/>
                    <a:pt x="0" y="72"/>
                    <a:pt x="0" y="46"/>
                  </a:cubicBezTo>
                  <a:cubicBezTo>
                    <a:pt x="0" y="46"/>
                    <a:pt x="0" y="46"/>
                    <a:pt x="0" y="46"/>
                  </a:cubicBezTo>
                  <a:cubicBezTo>
                    <a:pt x="0" y="21"/>
                    <a:pt x="21" y="0"/>
                    <a:pt x="47" y="0"/>
                  </a:cubicBezTo>
                  <a:cubicBezTo>
                    <a:pt x="1476" y="0"/>
                    <a:pt x="1476" y="0"/>
                    <a:pt x="1476" y="0"/>
                  </a:cubicBezTo>
                  <a:cubicBezTo>
                    <a:pt x="1502" y="0"/>
                    <a:pt x="1523" y="21"/>
                    <a:pt x="1523" y="46"/>
                  </a:cubicBezTo>
                  <a:close/>
                </a:path>
              </a:pathLst>
            </a:custGeom>
            <a:solidFill>
              <a:srgbClr val="022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1" name="Freeform 7"/>
            <p:cNvSpPr>
              <a:spLocks/>
            </p:cNvSpPr>
            <p:nvPr/>
          </p:nvSpPr>
          <p:spPr bwMode="auto">
            <a:xfrm>
              <a:off x="671512" y="5955507"/>
              <a:ext cx="901700" cy="895350"/>
            </a:xfrm>
            <a:custGeom>
              <a:avLst/>
              <a:gdLst>
                <a:gd name="T0" fmla="*/ 64 w 490"/>
                <a:gd name="T1" fmla="*/ 469 h 487"/>
                <a:gd name="T2" fmla="*/ 32 w 490"/>
                <a:gd name="T3" fmla="*/ 487 h 487"/>
                <a:gd name="T4" fmla="*/ 26 w 490"/>
                <a:gd name="T5" fmla="*/ 487 h 487"/>
                <a:gd name="T6" fmla="*/ 13 w 490"/>
                <a:gd name="T7" fmla="*/ 462 h 487"/>
                <a:gd name="T8" fmla="*/ 385 w 490"/>
                <a:gd name="T9" fmla="*/ 18 h 487"/>
                <a:gd name="T10" fmla="*/ 416 w 490"/>
                <a:gd name="T11" fmla="*/ 0 h 487"/>
                <a:gd name="T12" fmla="*/ 467 w 490"/>
                <a:gd name="T13" fmla="*/ 0 h 487"/>
                <a:gd name="T14" fmla="*/ 475 w 490"/>
                <a:gd name="T15" fmla="*/ 31 h 487"/>
                <a:gd name="T16" fmla="*/ 64 w 490"/>
                <a:gd name="T17" fmla="*/ 469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87">
                  <a:moveTo>
                    <a:pt x="64" y="469"/>
                  </a:moveTo>
                  <a:cubicBezTo>
                    <a:pt x="54" y="481"/>
                    <a:pt x="42" y="487"/>
                    <a:pt x="32" y="487"/>
                  </a:cubicBezTo>
                  <a:cubicBezTo>
                    <a:pt x="26" y="487"/>
                    <a:pt x="26" y="487"/>
                    <a:pt x="26" y="487"/>
                  </a:cubicBezTo>
                  <a:cubicBezTo>
                    <a:pt x="17" y="487"/>
                    <a:pt x="0" y="484"/>
                    <a:pt x="13" y="462"/>
                  </a:cubicBezTo>
                  <a:cubicBezTo>
                    <a:pt x="21" y="449"/>
                    <a:pt x="385" y="18"/>
                    <a:pt x="385" y="18"/>
                  </a:cubicBezTo>
                  <a:cubicBezTo>
                    <a:pt x="392" y="8"/>
                    <a:pt x="406" y="0"/>
                    <a:pt x="416" y="0"/>
                  </a:cubicBezTo>
                  <a:cubicBezTo>
                    <a:pt x="467" y="0"/>
                    <a:pt x="467" y="0"/>
                    <a:pt x="467" y="0"/>
                  </a:cubicBezTo>
                  <a:cubicBezTo>
                    <a:pt x="477" y="0"/>
                    <a:pt x="490" y="13"/>
                    <a:pt x="475" y="31"/>
                  </a:cubicBezTo>
                  <a:lnTo>
                    <a:pt x="64" y="469"/>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2" name="Freeform 8"/>
            <p:cNvSpPr>
              <a:spLocks/>
            </p:cNvSpPr>
            <p:nvPr/>
          </p:nvSpPr>
          <p:spPr bwMode="auto">
            <a:xfrm>
              <a:off x="2381249" y="5955507"/>
              <a:ext cx="903288" cy="895350"/>
            </a:xfrm>
            <a:custGeom>
              <a:avLst/>
              <a:gdLst>
                <a:gd name="T0" fmla="*/ 427 w 491"/>
                <a:gd name="T1" fmla="*/ 469 h 487"/>
                <a:gd name="T2" fmla="*/ 458 w 491"/>
                <a:gd name="T3" fmla="*/ 487 h 487"/>
                <a:gd name="T4" fmla="*/ 464 w 491"/>
                <a:gd name="T5" fmla="*/ 487 h 487"/>
                <a:gd name="T6" fmla="*/ 477 w 491"/>
                <a:gd name="T7" fmla="*/ 462 h 487"/>
                <a:gd name="T8" fmla="*/ 105 w 491"/>
                <a:gd name="T9" fmla="*/ 18 h 487"/>
                <a:gd name="T10" fmla="*/ 74 w 491"/>
                <a:gd name="T11" fmla="*/ 0 h 487"/>
                <a:gd name="T12" fmla="*/ 23 w 491"/>
                <a:gd name="T13" fmla="*/ 0 h 487"/>
                <a:gd name="T14" fmla="*/ 15 w 491"/>
                <a:gd name="T15" fmla="*/ 31 h 487"/>
                <a:gd name="T16" fmla="*/ 427 w 491"/>
                <a:gd name="T17" fmla="*/ 469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487">
                  <a:moveTo>
                    <a:pt x="427" y="469"/>
                  </a:moveTo>
                  <a:cubicBezTo>
                    <a:pt x="436" y="481"/>
                    <a:pt x="448" y="487"/>
                    <a:pt x="458" y="487"/>
                  </a:cubicBezTo>
                  <a:cubicBezTo>
                    <a:pt x="464" y="487"/>
                    <a:pt x="464" y="487"/>
                    <a:pt x="464" y="487"/>
                  </a:cubicBezTo>
                  <a:cubicBezTo>
                    <a:pt x="473" y="487"/>
                    <a:pt x="491" y="484"/>
                    <a:pt x="477" y="462"/>
                  </a:cubicBezTo>
                  <a:cubicBezTo>
                    <a:pt x="469" y="449"/>
                    <a:pt x="105" y="18"/>
                    <a:pt x="105" y="18"/>
                  </a:cubicBezTo>
                  <a:cubicBezTo>
                    <a:pt x="98" y="8"/>
                    <a:pt x="84" y="0"/>
                    <a:pt x="74" y="0"/>
                  </a:cubicBezTo>
                  <a:cubicBezTo>
                    <a:pt x="23" y="0"/>
                    <a:pt x="23" y="0"/>
                    <a:pt x="23" y="0"/>
                  </a:cubicBezTo>
                  <a:cubicBezTo>
                    <a:pt x="14" y="0"/>
                    <a:pt x="0" y="13"/>
                    <a:pt x="15" y="31"/>
                  </a:cubicBezTo>
                  <a:lnTo>
                    <a:pt x="427" y="469"/>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4" name="Freeform 9"/>
            <p:cNvSpPr>
              <a:spLocks/>
            </p:cNvSpPr>
            <p:nvPr/>
          </p:nvSpPr>
          <p:spPr bwMode="auto">
            <a:xfrm>
              <a:off x="1268412" y="5955507"/>
              <a:ext cx="304800" cy="196850"/>
            </a:xfrm>
            <a:custGeom>
              <a:avLst/>
              <a:gdLst>
                <a:gd name="T0" fmla="*/ 143 w 166"/>
                <a:gd name="T1" fmla="*/ 0 h 107"/>
                <a:gd name="T2" fmla="*/ 92 w 166"/>
                <a:gd name="T3" fmla="*/ 0 h 107"/>
                <a:gd name="T4" fmla="*/ 61 w 166"/>
                <a:gd name="T5" fmla="*/ 18 h 107"/>
                <a:gd name="T6" fmla="*/ 0 w 166"/>
                <a:gd name="T7" fmla="*/ 90 h 107"/>
                <a:gd name="T8" fmla="*/ 80 w 166"/>
                <a:gd name="T9" fmla="*/ 107 h 107"/>
                <a:gd name="T10" fmla="*/ 151 w 166"/>
                <a:gd name="T11" fmla="*/ 31 h 107"/>
                <a:gd name="T12" fmla="*/ 143 w 166"/>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66" h="107">
                  <a:moveTo>
                    <a:pt x="143" y="0"/>
                  </a:moveTo>
                  <a:cubicBezTo>
                    <a:pt x="92" y="0"/>
                    <a:pt x="92" y="0"/>
                    <a:pt x="92" y="0"/>
                  </a:cubicBezTo>
                  <a:cubicBezTo>
                    <a:pt x="82" y="0"/>
                    <a:pt x="68" y="8"/>
                    <a:pt x="61" y="18"/>
                  </a:cubicBezTo>
                  <a:cubicBezTo>
                    <a:pt x="61" y="18"/>
                    <a:pt x="36" y="47"/>
                    <a:pt x="0" y="90"/>
                  </a:cubicBezTo>
                  <a:cubicBezTo>
                    <a:pt x="80" y="107"/>
                    <a:pt x="80" y="107"/>
                    <a:pt x="80" y="107"/>
                  </a:cubicBezTo>
                  <a:cubicBezTo>
                    <a:pt x="151" y="31"/>
                    <a:pt x="151" y="31"/>
                    <a:pt x="151" y="31"/>
                  </a:cubicBezTo>
                  <a:cubicBezTo>
                    <a:pt x="166" y="13"/>
                    <a:pt x="153" y="0"/>
                    <a:pt x="143" y="0"/>
                  </a:cubicBezTo>
                  <a:close/>
                </a:path>
              </a:pathLst>
            </a:custGeom>
            <a:solidFill>
              <a:srgbClr val="8081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5" name="Freeform 10"/>
            <p:cNvSpPr>
              <a:spLocks/>
            </p:cNvSpPr>
            <p:nvPr/>
          </p:nvSpPr>
          <p:spPr bwMode="auto">
            <a:xfrm>
              <a:off x="2381249" y="5955507"/>
              <a:ext cx="371475" cy="254000"/>
            </a:xfrm>
            <a:custGeom>
              <a:avLst/>
              <a:gdLst>
                <a:gd name="T0" fmla="*/ 105 w 202"/>
                <a:gd name="T1" fmla="*/ 18 h 138"/>
                <a:gd name="T2" fmla="*/ 74 w 202"/>
                <a:gd name="T3" fmla="*/ 0 h 138"/>
                <a:gd name="T4" fmla="*/ 23 w 202"/>
                <a:gd name="T5" fmla="*/ 0 h 138"/>
                <a:gd name="T6" fmla="*/ 15 w 202"/>
                <a:gd name="T7" fmla="*/ 31 h 138"/>
                <a:gd name="T8" fmla="*/ 115 w 202"/>
                <a:gd name="T9" fmla="*/ 138 h 138"/>
                <a:gd name="T10" fmla="*/ 202 w 202"/>
                <a:gd name="T11" fmla="*/ 133 h 138"/>
                <a:gd name="T12" fmla="*/ 105 w 202"/>
                <a:gd name="T13" fmla="*/ 18 h 138"/>
              </a:gdLst>
              <a:ahLst/>
              <a:cxnLst>
                <a:cxn ang="0">
                  <a:pos x="T0" y="T1"/>
                </a:cxn>
                <a:cxn ang="0">
                  <a:pos x="T2" y="T3"/>
                </a:cxn>
                <a:cxn ang="0">
                  <a:pos x="T4" y="T5"/>
                </a:cxn>
                <a:cxn ang="0">
                  <a:pos x="T6" y="T7"/>
                </a:cxn>
                <a:cxn ang="0">
                  <a:pos x="T8" y="T9"/>
                </a:cxn>
                <a:cxn ang="0">
                  <a:pos x="T10" y="T11"/>
                </a:cxn>
                <a:cxn ang="0">
                  <a:pos x="T12" y="T13"/>
                </a:cxn>
              </a:cxnLst>
              <a:rect l="0" t="0" r="r" b="b"/>
              <a:pathLst>
                <a:path w="202" h="138">
                  <a:moveTo>
                    <a:pt x="105" y="18"/>
                  </a:moveTo>
                  <a:cubicBezTo>
                    <a:pt x="98" y="8"/>
                    <a:pt x="84" y="0"/>
                    <a:pt x="74" y="0"/>
                  </a:cubicBezTo>
                  <a:cubicBezTo>
                    <a:pt x="23" y="0"/>
                    <a:pt x="23" y="0"/>
                    <a:pt x="23" y="0"/>
                  </a:cubicBezTo>
                  <a:cubicBezTo>
                    <a:pt x="14" y="0"/>
                    <a:pt x="0" y="13"/>
                    <a:pt x="15" y="31"/>
                  </a:cubicBezTo>
                  <a:cubicBezTo>
                    <a:pt x="115" y="138"/>
                    <a:pt x="115" y="138"/>
                    <a:pt x="115" y="138"/>
                  </a:cubicBezTo>
                  <a:cubicBezTo>
                    <a:pt x="202" y="133"/>
                    <a:pt x="202" y="133"/>
                    <a:pt x="202" y="133"/>
                  </a:cubicBezTo>
                  <a:cubicBezTo>
                    <a:pt x="147" y="68"/>
                    <a:pt x="105" y="18"/>
                    <a:pt x="105" y="18"/>
                  </a:cubicBezTo>
                  <a:close/>
                </a:path>
              </a:pathLst>
            </a:custGeom>
            <a:solidFill>
              <a:srgbClr val="8081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6" name="Freeform 11"/>
            <p:cNvSpPr>
              <a:spLocks/>
            </p:cNvSpPr>
            <p:nvPr/>
          </p:nvSpPr>
          <p:spPr bwMode="auto">
            <a:xfrm>
              <a:off x="608012" y="5795169"/>
              <a:ext cx="2738438" cy="239712"/>
            </a:xfrm>
            <a:custGeom>
              <a:avLst/>
              <a:gdLst>
                <a:gd name="T0" fmla="*/ 1489 w 1489"/>
                <a:gd name="T1" fmla="*/ 0 h 131"/>
                <a:gd name="T2" fmla="*/ 0 w 1489"/>
                <a:gd name="T3" fmla="*/ 0 h 131"/>
                <a:gd name="T4" fmla="*/ 0 w 1489"/>
                <a:gd name="T5" fmla="*/ 18 h 131"/>
                <a:gd name="T6" fmla="*/ 744 w 1489"/>
                <a:gd name="T7" fmla="*/ 131 h 131"/>
                <a:gd name="T8" fmla="*/ 1489 w 1489"/>
                <a:gd name="T9" fmla="*/ 16 h 131"/>
                <a:gd name="T10" fmla="*/ 1489 w 1489"/>
                <a:gd name="T11" fmla="*/ 0 h 131"/>
              </a:gdLst>
              <a:ahLst/>
              <a:cxnLst>
                <a:cxn ang="0">
                  <a:pos x="T0" y="T1"/>
                </a:cxn>
                <a:cxn ang="0">
                  <a:pos x="T2" y="T3"/>
                </a:cxn>
                <a:cxn ang="0">
                  <a:pos x="T4" y="T5"/>
                </a:cxn>
                <a:cxn ang="0">
                  <a:pos x="T6" y="T7"/>
                </a:cxn>
                <a:cxn ang="0">
                  <a:pos x="T8" y="T9"/>
                </a:cxn>
                <a:cxn ang="0">
                  <a:pos x="T10" y="T11"/>
                </a:cxn>
              </a:cxnLst>
              <a:rect l="0" t="0" r="r" b="b"/>
              <a:pathLst>
                <a:path w="1489" h="131">
                  <a:moveTo>
                    <a:pt x="1489" y="0"/>
                  </a:moveTo>
                  <a:cubicBezTo>
                    <a:pt x="0" y="0"/>
                    <a:pt x="0" y="0"/>
                    <a:pt x="0" y="0"/>
                  </a:cubicBezTo>
                  <a:cubicBezTo>
                    <a:pt x="0" y="18"/>
                    <a:pt x="0" y="18"/>
                    <a:pt x="0" y="18"/>
                  </a:cubicBezTo>
                  <a:cubicBezTo>
                    <a:pt x="123" y="84"/>
                    <a:pt x="409" y="131"/>
                    <a:pt x="744" y="131"/>
                  </a:cubicBezTo>
                  <a:cubicBezTo>
                    <a:pt x="1079" y="131"/>
                    <a:pt x="1367" y="84"/>
                    <a:pt x="1489" y="16"/>
                  </a:cubicBezTo>
                  <a:lnTo>
                    <a:pt x="1489" y="0"/>
                  </a:lnTo>
                  <a:close/>
                </a:path>
              </a:pathLst>
            </a:custGeom>
            <a:solidFill>
              <a:srgbClr val="B89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7" name="Freeform 26"/>
            <p:cNvSpPr>
              <a:spLocks noEditPoints="1"/>
            </p:cNvSpPr>
            <p:nvPr/>
          </p:nvSpPr>
          <p:spPr bwMode="auto">
            <a:xfrm>
              <a:off x="741362" y="5566569"/>
              <a:ext cx="265113" cy="228600"/>
            </a:xfrm>
            <a:custGeom>
              <a:avLst/>
              <a:gdLst>
                <a:gd name="T0" fmla="*/ 120 w 144"/>
                <a:gd name="T1" fmla="*/ 23 h 124"/>
                <a:gd name="T2" fmla="*/ 103 w 144"/>
                <a:gd name="T3" fmla="*/ 23 h 124"/>
                <a:gd name="T4" fmla="*/ 103 w 144"/>
                <a:gd name="T5" fmla="*/ 4 h 124"/>
                <a:gd name="T6" fmla="*/ 99 w 144"/>
                <a:gd name="T7" fmla="*/ 0 h 124"/>
                <a:gd name="T8" fmla="*/ 4 w 144"/>
                <a:gd name="T9" fmla="*/ 0 h 124"/>
                <a:gd name="T10" fmla="*/ 0 w 144"/>
                <a:gd name="T11" fmla="*/ 4 h 124"/>
                <a:gd name="T12" fmla="*/ 0 w 144"/>
                <a:gd name="T13" fmla="*/ 114 h 124"/>
                <a:gd name="T14" fmla="*/ 4 w 144"/>
                <a:gd name="T15" fmla="*/ 118 h 124"/>
                <a:gd name="T16" fmla="*/ 9 w 144"/>
                <a:gd name="T17" fmla="*/ 118 h 124"/>
                <a:gd name="T18" fmla="*/ 9 w 144"/>
                <a:gd name="T19" fmla="*/ 124 h 124"/>
                <a:gd name="T20" fmla="*/ 95 w 144"/>
                <a:gd name="T21" fmla="*/ 124 h 124"/>
                <a:gd name="T22" fmla="*/ 95 w 144"/>
                <a:gd name="T23" fmla="*/ 118 h 124"/>
                <a:gd name="T24" fmla="*/ 99 w 144"/>
                <a:gd name="T25" fmla="*/ 118 h 124"/>
                <a:gd name="T26" fmla="*/ 103 w 144"/>
                <a:gd name="T27" fmla="*/ 114 h 124"/>
                <a:gd name="T28" fmla="*/ 103 w 144"/>
                <a:gd name="T29" fmla="*/ 92 h 124"/>
                <a:gd name="T30" fmla="*/ 120 w 144"/>
                <a:gd name="T31" fmla="*/ 92 h 124"/>
                <a:gd name="T32" fmla="*/ 144 w 144"/>
                <a:gd name="T33" fmla="*/ 69 h 124"/>
                <a:gd name="T34" fmla="*/ 144 w 144"/>
                <a:gd name="T35" fmla="*/ 47 h 124"/>
                <a:gd name="T36" fmla="*/ 120 w 144"/>
                <a:gd name="T37" fmla="*/ 23 h 124"/>
                <a:gd name="T38" fmla="*/ 132 w 144"/>
                <a:gd name="T39" fmla="*/ 69 h 124"/>
                <a:gd name="T40" fmla="*/ 120 w 144"/>
                <a:gd name="T41" fmla="*/ 81 h 124"/>
                <a:gd name="T42" fmla="*/ 103 w 144"/>
                <a:gd name="T43" fmla="*/ 81 h 124"/>
                <a:gd name="T44" fmla="*/ 103 w 144"/>
                <a:gd name="T45" fmla="*/ 35 h 124"/>
                <a:gd name="T46" fmla="*/ 120 w 144"/>
                <a:gd name="T47" fmla="*/ 35 h 124"/>
                <a:gd name="T48" fmla="*/ 132 w 144"/>
                <a:gd name="T49" fmla="*/ 47 h 124"/>
                <a:gd name="T50" fmla="*/ 132 w 144"/>
                <a:gd name="T51" fmla="*/ 6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24">
                  <a:moveTo>
                    <a:pt x="120" y="23"/>
                  </a:moveTo>
                  <a:cubicBezTo>
                    <a:pt x="103" y="23"/>
                    <a:pt x="103" y="23"/>
                    <a:pt x="103" y="23"/>
                  </a:cubicBezTo>
                  <a:cubicBezTo>
                    <a:pt x="103" y="4"/>
                    <a:pt x="103" y="4"/>
                    <a:pt x="103" y="4"/>
                  </a:cubicBezTo>
                  <a:cubicBezTo>
                    <a:pt x="103" y="2"/>
                    <a:pt x="101" y="0"/>
                    <a:pt x="99" y="0"/>
                  </a:cubicBezTo>
                  <a:cubicBezTo>
                    <a:pt x="4" y="0"/>
                    <a:pt x="4" y="0"/>
                    <a:pt x="4" y="0"/>
                  </a:cubicBezTo>
                  <a:cubicBezTo>
                    <a:pt x="2" y="0"/>
                    <a:pt x="0" y="2"/>
                    <a:pt x="0" y="4"/>
                  </a:cubicBezTo>
                  <a:cubicBezTo>
                    <a:pt x="0" y="114"/>
                    <a:pt x="0" y="114"/>
                    <a:pt x="0" y="114"/>
                  </a:cubicBezTo>
                  <a:cubicBezTo>
                    <a:pt x="0" y="116"/>
                    <a:pt x="2" y="118"/>
                    <a:pt x="4" y="118"/>
                  </a:cubicBezTo>
                  <a:cubicBezTo>
                    <a:pt x="9" y="118"/>
                    <a:pt x="9" y="118"/>
                    <a:pt x="9" y="118"/>
                  </a:cubicBezTo>
                  <a:cubicBezTo>
                    <a:pt x="9" y="124"/>
                    <a:pt x="9" y="124"/>
                    <a:pt x="9" y="124"/>
                  </a:cubicBezTo>
                  <a:cubicBezTo>
                    <a:pt x="95" y="124"/>
                    <a:pt x="95" y="124"/>
                    <a:pt x="95" y="124"/>
                  </a:cubicBezTo>
                  <a:cubicBezTo>
                    <a:pt x="95" y="118"/>
                    <a:pt x="95" y="118"/>
                    <a:pt x="95" y="118"/>
                  </a:cubicBezTo>
                  <a:cubicBezTo>
                    <a:pt x="99" y="118"/>
                    <a:pt x="99" y="118"/>
                    <a:pt x="99" y="118"/>
                  </a:cubicBezTo>
                  <a:cubicBezTo>
                    <a:pt x="101" y="118"/>
                    <a:pt x="103" y="116"/>
                    <a:pt x="103" y="114"/>
                  </a:cubicBezTo>
                  <a:cubicBezTo>
                    <a:pt x="103" y="92"/>
                    <a:pt x="103" y="92"/>
                    <a:pt x="103" y="92"/>
                  </a:cubicBezTo>
                  <a:cubicBezTo>
                    <a:pt x="120" y="92"/>
                    <a:pt x="120" y="92"/>
                    <a:pt x="120" y="92"/>
                  </a:cubicBezTo>
                  <a:cubicBezTo>
                    <a:pt x="133" y="92"/>
                    <a:pt x="144" y="82"/>
                    <a:pt x="144" y="69"/>
                  </a:cubicBezTo>
                  <a:cubicBezTo>
                    <a:pt x="144" y="47"/>
                    <a:pt x="144" y="47"/>
                    <a:pt x="144" y="47"/>
                  </a:cubicBezTo>
                  <a:cubicBezTo>
                    <a:pt x="144" y="34"/>
                    <a:pt x="133" y="23"/>
                    <a:pt x="120" y="23"/>
                  </a:cubicBezTo>
                  <a:close/>
                  <a:moveTo>
                    <a:pt x="132" y="69"/>
                  </a:moveTo>
                  <a:cubicBezTo>
                    <a:pt x="132" y="75"/>
                    <a:pt x="127" y="81"/>
                    <a:pt x="120" y="81"/>
                  </a:cubicBezTo>
                  <a:cubicBezTo>
                    <a:pt x="103" y="81"/>
                    <a:pt x="103" y="81"/>
                    <a:pt x="103" y="81"/>
                  </a:cubicBezTo>
                  <a:cubicBezTo>
                    <a:pt x="103" y="35"/>
                    <a:pt x="103" y="35"/>
                    <a:pt x="103" y="35"/>
                  </a:cubicBezTo>
                  <a:cubicBezTo>
                    <a:pt x="120" y="35"/>
                    <a:pt x="120" y="35"/>
                    <a:pt x="120" y="35"/>
                  </a:cubicBezTo>
                  <a:cubicBezTo>
                    <a:pt x="127" y="35"/>
                    <a:pt x="132" y="40"/>
                    <a:pt x="132" y="47"/>
                  </a:cubicBezTo>
                  <a:lnTo>
                    <a:pt x="132" y="69"/>
                  </a:lnTo>
                  <a:close/>
                </a:path>
              </a:pathLst>
            </a:custGeom>
            <a:solidFill>
              <a:schemeClr val="bg1">
                <a:lumMod val="20000"/>
                <a:lumOff val="80000"/>
              </a:schemeClr>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39" name="Freeform 27"/>
            <p:cNvSpPr>
              <a:spLocks/>
            </p:cNvSpPr>
            <p:nvPr/>
          </p:nvSpPr>
          <p:spPr bwMode="auto">
            <a:xfrm>
              <a:off x="760412" y="5649119"/>
              <a:ext cx="71438" cy="30162"/>
            </a:xfrm>
            <a:custGeom>
              <a:avLst/>
              <a:gdLst>
                <a:gd name="T0" fmla="*/ 26 w 39"/>
                <a:gd name="T1" fmla="*/ 5 h 16"/>
                <a:gd name="T2" fmla="*/ 7 w 39"/>
                <a:gd name="T3" fmla="*/ 12 h 16"/>
                <a:gd name="T4" fmla="*/ 3 w 39"/>
                <a:gd name="T5" fmla="*/ 6 h 16"/>
                <a:gd name="T6" fmla="*/ 9 w 39"/>
                <a:gd name="T7" fmla="*/ 0 h 16"/>
                <a:gd name="T8" fmla="*/ 8 w 39"/>
                <a:gd name="T9" fmla="*/ 0 h 16"/>
                <a:gd name="T10" fmla="*/ 0 w 39"/>
                <a:gd name="T11" fmla="*/ 8 h 16"/>
                <a:gd name="T12" fmla="*/ 7 w 39"/>
                <a:gd name="T13" fmla="*/ 16 h 16"/>
                <a:gd name="T14" fmla="*/ 39 w 39"/>
                <a:gd name="T15" fmla="*/ 16 h 16"/>
                <a:gd name="T16" fmla="*/ 26 w 39"/>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6">
                  <a:moveTo>
                    <a:pt x="26" y="5"/>
                  </a:moveTo>
                  <a:cubicBezTo>
                    <a:pt x="19" y="5"/>
                    <a:pt x="17" y="12"/>
                    <a:pt x="7" y="12"/>
                  </a:cubicBezTo>
                  <a:cubicBezTo>
                    <a:pt x="5" y="12"/>
                    <a:pt x="3" y="9"/>
                    <a:pt x="3" y="6"/>
                  </a:cubicBezTo>
                  <a:cubicBezTo>
                    <a:pt x="3" y="3"/>
                    <a:pt x="6" y="0"/>
                    <a:pt x="9" y="0"/>
                  </a:cubicBezTo>
                  <a:cubicBezTo>
                    <a:pt x="8" y="0"/>
                    <a:pt x="8" y="0"/>
                    <a:pt x="8" y="0"/>
                  </a:cubicBezTo>
                  <a:cubicBezTo>
                    <a:pt x="4" y="0"/>
                    <a:pt x="0" y="4"/>
                    <a:pt x="0" y="8"/>
                  </a:cubicBezTo>
                  <a:cubicBezTo>
                    <a:pt x="0" y="13"/>
                    <a:pt x="3" y="16"/>
                    <a:pt x="7" y="16"/>
                  </a:cubicBezTo>
                  <a:cubicBezTo>
                    <a:pt x="13" y="16"/>
                    <a:pt x="39" y="16"/>
                    <a:pt x="39" y="16"/>
                  </a:cubicBezTo>
                  <a:cubicBezTo>
                    <a:pt x="39" y="16"/>
                    <a:pt x="38" y="5"/>
                    <a:pt x="26"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0" name="Freeform 28"/>
            <p:cNvSpPr>
              <a:spLocks/>
            </p:cNvSpPr>
            <p:nvPr/>
          </p:nvSpPr>
          <p:spPr bwMode="auto">
            <a:xfrm>
              <a:off x="841374" y="5649119"/>
              <a:ext cx="71438" cy="30162"/>
            </a:xfrm>
            <a:custGeom>
              <a:avLst/>
              <a:gdLst>
                <a:gd name="T0" fmla="*/ 13 w 39"/>
                <a:gd name="T1" fmla="*/ 5 h 16"/>
                <a:gd name="T2" fmla="*/ 32 w 39"/>
                <a:gd name="T3" fmla="*/ 12 h 16"/>
                <a:gd name="T4" fmla="*/ 35 w 39"/>
                <a:gd name="T5" fmla="*/ 6 h 16"/>
                <a:gd name="T6" fmla="*/ 30 w 39"/>
                <a:gd name="T7" fmla="*/ 0 h 16"/>
                <a:gd name="T8" fmla="*/ 31 w 39"/>
                <a:gd name="T9" fmla="*/ 0 h 16"/>
                <a:gd name="T10" fmla="*/ 39 w 39"/>
                <a:gd name="T11" fmla="*/ 8 h 16"/>
                <a:gd name="T12" fmla="*/ 32 w 39"/>
                <a:gd name="T13" fmla="*/ 16 h 16"/>
                <a:gd name="T14" fmla="*/ 0 w 39"/>
                <a:gd name="T15" fmla="*/ 16 h 16"/>
                <a:gd name="T16" fmla="*/ 13 w 39"/>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6">
                  <a:moveTo>
                    <a:pt x="13" y="5"/>
                  </a:moveTo>
                  <a:cubicBezTo>
                    <a:pt x="20" y="5"/>
                    <a:pt x="22" y="12"/>
                    <a:pt x="32" y="12"/>
                  </a:cubicBezTo>
                  <a:cubicBezTo>
                    <a:pt x="34" y="12"/>
                    <a:pt x="35" y="9"/>
                    <a:pt x="35" y="6"/>
                  </a:cubicBezTo>
                  <a:cubicBezTo>
                    <a:pt x="35" y="3"/>
                    <a:pt x="33" y="0"/>
                    <a:pt x="30" y="0"/>
                  </a:cubicBezTo>
                  <a:cubicBezTo>
                    <a:pt x="31" y="0"/>
                    <a:pt x="31" y="0"/>
                    <a:pt x="31" y="0"/>
                  </a:cubicBezTo>
                  <a:cubicBezTo>
                    <a:pt x="35" y="0"/>
                    <a:pt x="39" y="4"/>
                    <a:pt x="39" y="8"/>
                  </a:cubicBezTo>
                  <a:cubicBezTo>
                    <a:pt x="39" y="13"/>
                    <a:pt x="36" y="16"/>
                    <a:pt x="32" y="16"/>
                  </a:cubicBezTo>
                  <a:cubicBezTo>
                    <a:pt x="26" y="16"/>
                    <a:pt x="0" y="16"/>
                    <a:pt x="0" y="16"/>
                  </a:cubicBezTo>
                  <a:cubicBezTo>
                    <a:pt x="0" y="16"/>
                    <a:pt x="1" y="5"/>
                    <a:pt x="13"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1" name="Rectangle 16"/>
            <p:cNvSpPr>
              <a:spLocks noChangeArrowheads="1"/>
            </p:cNvSpPr>
            <p:nvPr/>
          </p:nvSpPr>
          <p:spPr bwMode="auto">
            <a:xfrm>
              <a:off x="1267789" y="5322094"/>
              <a:ext cx="639763" cy="433387"/>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2" name="Oval 17"/>
            <p:cNvSpPr>
              <a:spLocks noChangeArrowheads="1"/>
            </p:cNvSpPr>
            <p:nvPr/>
          </p:nvSpPr>
          <p:spPr bwMode="auto">
            <a:xfrm>
              <a:off x="1582114" y="5331619"/>
              <a:ext cx="11113" cy="111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3" name="Rectangle 18"/>
            <p:cNvSpPr>
              <a:spLocks noChangeArrowheads="1"/>
            </p:cNvSpPr>
            <p:nvPr/>
          </p:nvSpPr>
          <p:spPr bwMode="auto">
            <a:xfrm>
              <a:off x="1290014" y="5355432"/>
              <a:ext cx="596900" cy="38258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5" name="Freeform 19"/>
            <p:cNvSpPr>
              <a:spLocks/>
            </p:cNvSpPr>
            <p:nvPr/>
          </p:nvSpPr>
          <p:spPr bwMode="auto">
            <a:xfrm>
              <a:off x="1169364" y="5763419"/>
              <a:ext cx="825500" cy="33337"/>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8" name="Rectangle 12"/>
            <p:cNvSpPr>
              <a:spLocks noChangeArrowheads="1"/>
            </p:cNvSpPr>
            <p:nvPr/>
          </p:nvSpPr>
          <p:spPr bwMode="auto">
            <a:xfrm>
              <a:off x="2104402" y="5322094"/>
              <a:ext cx="639763" cy="433387"/>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49" name="Oval 13"/>
            <p:cNvSpPr>
              <a:spLocks noChangeArrowheads="1"/>
            </p:cNvSpPr>
            <p:nvPr/>
          </p:nvSpPr>
          <p:spPr bwMode="auto">
            <a:xfrm>
              <a:off x="2418727" y="5331619"/>
              <a:ext cx="11113" cy="111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50" name="Rectangle 14"/>
            <p:cNvSpPr>
              <a:spLocks noChangeArrowheads="1"/>
            </p:cNvSpPr>
            <p:nvPr/>
          </p:nvSpPr>
          <p:spPr bwMode="auto">
            <a:xfrm>
              <a:off x="2126627" y="5355432"/>
              <a:ext cx="595313" cy="38258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51" name="Freeform 15"/>
            <p:cNvSpPr>
              <a:spLocks/>
            </p:cNvSpPr>
            <p:nvPr/>
          </p:nvSpPr>
          <p:spPr bwMode="auto">
            <a:xfrm>
              <a:off x="2004389" y="5763419"/>
              <a:ext cx="825500" cy="33337"/>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nvGrpSpPr>
            <p:cNvPr id="152" name="Group 151"/>
            <p:cNvGrpSpPr/>
            <p:nvPr/>
          </p:nvGrpSpPr>
          <p:grpSpPr>
            <a:xfrm>
              <a:off x="2286095" y="5396449"/>
              <a:ext cx="253964" cy="296819"/>
              <a:chOff x="5026109" y="4686995"/>
              <a:chExt cx="253964" cy="296819"/>
            </a:xfrm>
          </p:grpSpPr>
          <p:sp>
            <p:nvSpPr>
              <p:cNvPr id="164" name="Freeform 47"/>
              <p:cNvSpPr>
                <a:spLocks/>
              </p:cNvSpPr>
              <p:nvPr/>
            </p:nvSpPr>
            <p:spPr bwMode="auto">
              <a:xfrm>
                <a:off x="5026109" y="4755247"/>
                <a:ext cx="253964" cy="228567"/>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sp>
            <p:nvSpPr>
              <p:cNvPr id="165" name="Freeform 48"/>
              <p:cNvSpPr>
                <a:spLocks/>
              </p:cNvSpPr>
              <p:nvPr/>
            </p:nvSpPr>
            <p:spPr bwMode="auto">
              <a:xfrm>
                <a:off x="5159440" y="4686995"/>
                <a:ext cx="61904" cy="68253"/>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0"/>
                <a:endParaRPr lang="en-US">
                  <a:solidFill>
                    <a:srgbClr val="FFFFFF"/>
                  </a:solidFill>
                  <a:latin typeface="Segoe UI"/>
                </a:endParaRPr>
              </a:p>
            </p:txBody>
          </p:sp>
        </p:grpSp>
        <p:grpSp>
          <p:nvGrpSpPr>
            <p:cNvPr id="153" name="Group 31"/>
            <p:cNvGrpSpPr>
              <a:grpSpLocks noChangeAspect="1"/>
            </p:cNvGrpSpPr>
            <p:nvPr/>
          </p:nvGrpSpPr>
          <p:grpSpPr bwMode="auto">
            <a:xfrm>
              <a:off x="9204325" y="2184400"/>
              <a:ext cx="1196975" cy="936625"/>
              <a:chOff x="5798" y="1376"/>
              <a:chExt cx="754" cy="590"/>
            </a:xfrm>
          </p:grpSpPr>
          <p:sp>
            <p:nvSpPr>
              <p:cNvPr id="154" name="AutoShape 30"/>
              <p:cNvSpPr>
                <a:spLocks noChangeAspect="1" noChangeArrowheads="1" noTextEdit="1"/>
              </p:cNvSpPr>
              <p:nvPr/>
            </p:nvSpPr>
            <p:spPr bwMode="auto">
              <a:xfrm>
                <a:off x="5798" y="1376"/>
                <a:ext cx="754" cy="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155" name="Freeform 32"/>
              <p:cNvSpPr>
                <a:spLocks/>
              </p:cNvSpPr>
              <p:nvPr/>
            </p:nvSpPr>
            <p:spPr bwMode="auto">
              <a:xfrm>
                <a:off x="5827" y="1399"/>
                <a:ext cx="696" cy="545"/>
              </a:xfrm>
              <a:custGeom>
                <a:avLst/>
                <a:gdLst>
                  <a:gd name="T0" fmla="*/ 659 w 752"/>
                  <a:gd name="T1" fmla="*/ 0 h 589"/>
                  <a:gd name="T2" fmla="*/ 258 w 752"/>
                  <a:gd name="T3" fmla="*/ 402 h 589"/>
                  <a:gd name="T4" fmla="*/ 92 w 752"/>
                  <a:gd name="T5" fmla="*/ 237 h 589"/>
                  <a:gd name="T6" fmla="*/ 0 w 752"/>
                  <a:gd name="T7" fmla="*/ 330 h 589"/>
                  <a:gd name="T8" fmla="*/ 165 w 752"/>
                  <a:gd name="T9" fmla="*/ 496 h 589"/>
                  <a:gd name="T10" fmla="*/ 164 w 752"/>
                  <a:gd name="T11" fmla="*/ 496 h 589"/>
                  <a:gd name="T12" fmla="*/ 257 w 752"/>
                  <a:gd name="T13" fmla="*/ 589 h 589"/>
                  <a:gd name="T14" fmla="*/ 752 w 752"/>
                  <a:gd name="T15" fmla="*/ 93 h 589"/>
                  <a:gd name="T16" fmla="*/ 659 w 752"/>
                  <a:gd name="T17"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589">
                    <a:moveTo>
                      <a:pt x="659" y="0"/>
                    </a:moveTo>
                    <a:lnTo>
                      <a:pt x="258" y="402"/>
                    </a:lnTo>
                    <a:lnTo>
                      <a:pt x="92" y="237"/>
                    </a:lnTo>
                    <a:lnTo>
                      <a:pt x="0" y="330"/>
                    </a:lnTo>
                    <a:lnTo>
                      <a:pt x="165" y="496"/>
                    </a:lnTo>
                    <a:lnTo>
                      <a:pt x="164" y="496"/>
                    </a:lnTo>
                    <a:lnTo>
                      <a:pt x="257" y="589"/>
                    </a:lnTo>
                    <a:lnTo>
                      <a:pt x="752" y="93"/>
                    </a:lnTo>
                    <a:lnTo>
                      <a:pt x="65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grpSp>
      <p:sp>
        <p:nvSpPr>
          <p:cNvPr id="190" name="Rounded Rectangle 189"/>
          <p:cNvSpPr/>
          <p:nvPr/>
        </p:nvSpPr>
        <p:spPr bwMode="auto">
          <a:xfrm>
            <a:off x="8832557" y="4043069"/>
            <a:ext cx="2469894" cy="1164375"/>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rgbClr val="001F50"/>
                </a:solidFill>
                <a:latin typeface="Segoe UI"/>
                <a:ea typeface="Segoe UI" pitchFamily="34" charset="0"/>
                <a:cs typeface="Segoe UI" pitchFamily="34" charset="0"/>
              </a:rPr>
              <a:t>User Authentication</a:t>
            </a:r>
          </a:p>
        </p:txBody>
      </p:sp>
      <p:sp>
        <p:nvSpPr>
          <p:cNvPr id="192" name="Rounded Rectangle 191"/>
          <p:cNvSpPr/>
          <p:nvPr/>
        </p:nvSpPr>
        <p:spPr bwMode="auto">
          <a:xfrm>
            <a:off x="8850693" y="5413151"/>
            <a:ext cx="2433621" cy="1164375"/>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rgbClr val="001F50"/>
                </a:solidFill>
                <a:latin typeface="Segoe UI"/>
                <a:ea typeface="Segoe UI" pitchFamily="34" charset="0"/>
                <a:cs typeface="Segoe UI" pitchFamily="34" charset="0"/>
              </a:rPr>
              <a:t>Push Notifications</a:t>
            </a:r>
          </a:p>
        </p:txBody>
      </p:sp>
      <p:sp>
        <p:nvSpPr>
          <p:cNvPr id="193" name="TextBox 192"/>
          <p:cNvSpPr txBox="1"/>
          <p:nvPr/>
        </p:nvSpPr>
        <p:spPr>
          <a:xfrm>
            <a:off x="1984503" y="1837650"/>
            <a:ext cx="3724672" cy="641241"/>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2448" b="1">
                <a:ln w="3175">
                  <a:noFill/>
                </a:ln>
                <a:gradFill>
                  <a:gsLst>
                    <a:gs pos="93860">
                      <a:srgbClr val="505050"/>
                    </a:gs>
                    <a:gs pos="78571">
                      <a:srgbClr val="505050"/>
                    </a:gs>
                  </a:gsLst>
                  <a:lin ang="5400000" scaled="0"/>
                </a:gradFill>
                <a:latin typeface="Segoe UI"/>
                <a:cs typeface="Segoe UI Semilight" panose="020B0402040204020203" pitchFamily="34" charset="0"/>
              </a:rPr>
              <a:t>Mobile DevOps</a:t>
            </a:r>
          </a:p>
        </p:txBody>
      </p:sp>
      <p:sp>
        <p:nvSpPr>
          <p:cNvPr id="194" name="Rounded Rectangle 193"/>
          <p:cNvSpPr/>
          <p:nvPr/>
        </p:nvSpPr>
        <p:spPr bwMode="auto">
          <a:xfrm>
            <a:off x="8832557" y="2635326"/>
            <a:ext cx="2469894" cy="1164375"/>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rgbClr val="001F50"/>
                </a:solidFill>
                <a:latin typeface="Segoe UI"/>
                <a:ea typeface="Segoe UI" pitchFamily="34" charset="0"/>
                <a:cs typeface="Segoe UI" pitchFamily="34" charset="0"/>
              </a:rPr>
              <a:t>Cloud and Offline Data</a:t>
            </a:r>
          </a:p>
        </p:txBody>
      </p:sp>
      <p:sp>
        <p:nvSpPr>
          <p:cNvPr id="196" name="TextBox 195"/>
          <p:cNvSpPr txBox="1"/>
          <p:nvPr/>
        </p:nvSpPr>
        <p:spPr>
          <a:xfrm>
            <a:off x="7848558" y="1814737"/>
            <a:ext cx="4467529" cy="641241"/>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2448" b="1">
                <a:ln w="3175">
                  <a:noFill/>
                </a:ln>
                <a:gradFill>
                  <a:gsLst>
                    <a:gs pos="93860">
                      <a:srgbClr val="505050"/>
                    </a:gs>
                    <a:gs pos="78571">
                      <a:srgbClr val="505050"/>
                    </a:gs>
                  </a:gsLst>
                  <a:lin ang="5400000" scaled="0"/>
                </a:gradFill>
                <a:latin typeface="Segoe UI"/>
                <a:cs typeface="Segoe UI Semilight" panose="020B0402040204020203" pitchFamily="34" charset="0"/>
              </a:rPr>
              <a:t>Mobile Back-end Services</a:t>
            </a:r>
          </a:p>
        </p:txBody>
      </p:sp>
      <p:pic>
        <p:nvPicPr>
          <p:cNvPr id="3" name="Picture 2"/>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a:off x="1488303" y="5505103"/>
            <a:ext cx="231423" cy="231423"/>
          </a:xfrm>
          <a:prstGeom prst="rect">
            <a:avLst/>
          </a:prstGeom>
        </p:spPr>
      </p:pic>
      <p:sp>
        <p:nvSpPr>
          <p:cNvPr id="82" name="Freeform 13"/>
          <p:cNvSpPr>
            <a:spLocks noChangeAspect="1" noEditPoints="1"/>
          </p:cNvSpPr>
          <p:nvPr/>
        </p:nvSpPr>
        <p:spPr bwMode="auto">
          <a:xfrm>
            <a:off x="10619354" y="308769"/>
            <a:ext cx="818871" cy="56710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cxnSp>
        <p:nvCxnSpPr>
          <p:cNvPr id="5" name="Straight Connector 4"/>
          <p:cNvCxnSpPr/>
          <p:nvPr/>
        </p:nvCxnSpPr>
        <p:spPr>
          <a:xfrm>
            <a:off x="8800405" y="3751262"/>
            <a:ext cx="253419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800405" y="5186844"/>
            <a:ext cx="253419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9474400" y="959213"/>
            <a:ext cx="3129580"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App Innovation</a:t>
            </a:r>
          </a:p>
        </p:txBody>
      </p:sp>
    </p:spTree>
    <p:extLst>
      <p:ext uri="{BB962C8B-B14F-4D97-AF65-F5344CB8AC3E}">
        <p14:creationId xmlns:p14="http://schemas.microsoft.com/office/powerpoint/2010/main" val="75389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200"/>
                                  </p:stCondLst>
                                  <p:childTnLst>
                                    <p:set>
                                      <p:cBhvr>
                                        <p:cTn id="6" dur="1" fill="hold">
                                          <p:stCondLst>
                                            <p:cond delay="0"/>
                                          </p:stCondLst>
                                        </p:cTn>
                                        <p:tgtEl>
                                          <p:spTgt spid="83"/>
                                        </p:tgtEl>
                                        <p:attrNameLst>
                                          <p:attrName>style.visibility</p:attrName>
                                        </p:attrNameLst>
                                      </p:cBhvr>
                                      <p:to>
                                        <p:strVal val="visible"/>
                                      </p:to>
                                    </p:set>
                                    <p:anim calcmode="lin" valueType="num">
                                      <p:cBhvr additive="base">
                                        <p:cTn id="7" dur="500" fill="hold"/>
                                        <p:tgtEl>
                                          <p:spTgt spid="83"/>
                                        </p:tgtEl>
                                        <p:attrNameLst>
                                          <p:attrName>ppt_x</p:attrName>
                                        </p:attrNameLst>
                                      </p:cBhvr>
                                      <p:tavLst>
                                        <p:tav tm="0">
                                          <p:val>
                                            <p:strVal val="#ppt_x"/>
                                          </p:val>
                                        </p:tav>
                                        <p:tav tm="100000">
                                          <p:val>
                                            <p:strVal val="#ppt_x"/>
                                          </p:val>
                                        </p:tav>
                                      </p:tavLst>
                                    </p:anim>
                                    <p:anim calcmode="lin" valueType="num">
                                      <p:cBhvr additive="base">
                                        <p:cTn id="8" dur="500" fill="hold"/>
                                        <p:tgtEl>
                                          <p:spTgt spid="83"/>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93"/>
                                        </p:tgtEl>
                                        <p:attrNameLst>
                                          <p:attrName>style.visibility</p:attrName>
                                        </p:attrNameLst>
                                      </p:cBhvr>
                                      <p:to>
                                        <p:strVal val="visible"/>
                                      </p:to>
                                    </p:set>
                                    <p:animEffect transition="in" filter="fade">
                                      <p:cBhvr>
                                        <p:cTn id="11" dur="500"/>
                                        <p:tgtEl>
                                          <p:spTgt spid="193"/>
                                        </p:tgtEl>
                                      </p:cBhvr>
                                    </p:animEffect>
                                  </p:childTnLst>
                                </p:cTn>
                              </p:par>
                              <p:par>
                                <p:cTn id="12" presetID="10" presetClass="entr" presetSubtype="0" fill="hold" nodeType="withEffect">
                                  <p:stCondLst>
                                    <p:cond delay="200"/>
                                  </p:stCondLst>
                                  <p:childTnLst>
                                    <p:set>
                                      <p:cBhvr>
                                        <p:cTn id="13" dur="1" fill="hold">
                                          <p:stCondLst>
                                            <p:cond delay="0"/>
                                          </p:stCondLst>
                                        </p:cTn>
                                        <p:tgtEl>
                                          <p:spTgt spid="94"/>
                                        </p:tgtEl>
                                        <p:attrNameLst>
                                          <p:attrName>style.visibility</p:attrName>
                                        </p:attrNameLst>
                                      </p:cBhvr>
                                      <p:to>
                                        <p:strVal val="visible"/>
                                      </p:to>
                                    </p:set>
                                    <p:animEffect transition="in" filter="fade">
                                      <p:cBhvr>
                                        <p:cTn id="14" dur="500"/>
                                        <p:tgtEl>
                                          <p:spTgt spid="94"/>
                                        </p:tgtEl>
                                      </p:cBhvr>
                                    </p:animEffect>
                                  </p:childTnLst>
                                </p:cTn>
                              </p:par>
                            </p:childTnLst>
                          </p:cTn>
                        </p:par>
                        <p:par>
                          <p:cTn id="15" fill="hold">
                            <p:stCondLst>
                              <p:cond delay="700"/>
                            </p:stCondLst>
                            <p:childTnLst>
                              <p:par>
                                <p:cTn id="16" presetID="10" presetClass="entr" presetSubtype="0" fill="hold" grpId="0" nodeType="afterEffect">
                                  <p:stCondLst>
                                    <p:cond delay="0"/>
                                  </p:stCondLst>
                                  <p:childTnLst>
                                    <p:set>
                                      <p:cBhvr>
                                        <p:cTn id="17" dur="1" fill="hold">
                                          <p:stCondLst>
                                            <p:cond delay="0"/>
                                          </p:stCondLst>
                                        </p:cTn>
                                        <p:tgtEl>
                                          <p:spTgt spid="196"/>
                                        </p:tgtEl>
                                        <p:attrNameLst>
                                          <p:attrName>style.visibility</p:attrName>
                                        </p:attrNameLst>
                                      </p:cBhvr>
                                      <p:to>
                                        <p:strVal val="visible"/>
                                      </p:to>
                                    </p:set>
                                    <p:animEffect transition="in" filter="fade">
                                      <p:cBhvr>
                                        <p:cTn id="18" dur="500"/>
                                        <p:tgtEl>
                                          <p:spTgt spid="19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94"/>
                                        </p:tgtEl>
                                        <p:attrNameLst>
                                          <p:attrName>style.visibility</p:attrName>
                                        </p:attrNameLst>
                                      </p:cBhvr>
                                      <p:to>
                                        <p:strVal val="visible"/>
                                      </p:to>
                                    </p:set>
                                    <p:animEffect transition="in" filter="fade">
                                      <p:cBhvr>
                                        <p:cTn id="21" dur="500"/>
                                        <p:tgtEl>
                                          <p:spTgt spid="19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90"/>
                                        </p:tgtEl>
                                        <p:attrNameLst>
                                          <p:attrName>style.visibility</p:attrName>
                                        </p:attrNameLst>
                                      </p:cBhvr>
                                      <p:to>
                                        <p:strVal val="visible"/>
                                      </p:to>
                                    </p:set>
                                    <p:animEffect transition="in" filter="fade">
                                      <p:cBhvr>
                                        <p:cTn id="24" dur="500"/>
                                        <p:tgtEl>
                                          <p:spTgt spid="19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16" presetClass="entr" presetSubtype="37"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barn(outVertical)">
                                      <p:cBhvr>
                                        <p:cTn id="30" dur="500"/>
                                        <p:tgtEl>
                                          <p:spTgt spid="5"/>
                                        </p:tgtEl>
                                      </p:cBhvr>
                                    </p:animEffect>
                                  </p:childTnLst>
                                </p:cTn>
                              </p:par>
                              <p:par>
                                <p:cTn id="31" presetID="16" presetClass="entr" presetSubtype="37" fill="hold" nodeType="withEffect">
                                  <p:stCondLst>
                                    <p:cond delay="0"/>
                                  </p:stCondLst>
                                  <p:childTnLst>
                                    <p:set>
                                      <p:cBhvr>
                                        <p:cTn id="32" dur="1" fill="hold">
                                          <p:stCondLst>
                                            <p:cond delay="0"/>
                                          </p:stCondLst>
                                        </p:cTn>
                                        <p:tgtEl>
                                          <p:spTgt spid="86"/>
                                        </p:tgtEl>
                                        <p:attrNameLst>
                                          <p:attrName>style.visibility</p:attrName>
                                        </p:attrNameLst>
                                      </p:cBhvr>
                                      <p:to>
                                        <p:strVal val="visible"/>
                                      </p:to>
                                    </p:set>
                                    <p:animEffect transition="in" filter="barn(outVertical)">
                                      <p:cBhvr>
                                        <p:cTn id="33"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190" grpId="0"/>
      <p:bldP spid="192" grpId="0"/>
      <p:bldP spid="193" grpId="0"/>
      <p:bldP spid="194" grpId="0"/>
      <p:bldP spid="19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flipH="1">
            <a:off x="4741615" y="5802378"/>
            <a:ext cx="6699201" cy="0"/>
          </a:xfrm>
          <a:prstGeom prst="line">
            <a:avLst/>
          </a:prstGeom>
          <a:ln w="2857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4741615" y="4683254"/>
            <a:ext cx="6699201" cy="0"/>
          </a:xfrm>
          <a:prstGeom prst="line">
            <a:avLst/>
          </a:prstGeom>
          <a:ln w="28575">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83" y="497"/>
            <a:ext cx="5303094" cy="6993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err="1">
              <a:solidFill>
                <a:srgbClr val="505050"/>
              </a:solidFill>
              <a:latin typeface="Segoe UI"/>
              <a:ea typeface="Segoe UI" pitchFamily="34" charset="0"/>
              <a:cs typeface="Segoe UI" pitchFamily="34" charset="0"/>
            </a:endParaRPr>
          </a:p>
        </p:txBody>
      </p:sp>
      <p:sp>
        <p:nvSpPr>
          <p:cNvPr id="25" name="Title 1"/>
          <p:cNvSpPr txBox="1">
            <a:spLocks/>
          </p:cNvSpPr>
          <p:nvPr/>
        </p:nvSpPr>
        <p:spPr>
          <a:xfrm>
            <a:off x="883" y="2657133"/>
            <a:ext cx="5303094" cy="1709948"/>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5399" spc="-40">
                <a:gradFill>
                  <a:gsLst>
                    <a:gs pos="1250">
                      <a:srgbClr val="FFFFFF"/>
                    </a:gs>
                    <a:gs pos="100000">
                      <a:srgbClr val="FFFFFF"/>
                    </a:gs>
                  </a:gsLst>
                  <a:lin ang="5400000" scaled="0"/>
                </a:gradFill>
                <a:latin typeface="Segoe UI Light"/>
              </a:rPr>
              <a:t>Microsoft </a:t>
            </a:r>
            <a:br>
              <a:rPr lang="en-US" sz="5399" spc="-40">
                <a:gradFill>
                  <a:gsLst>
                    <a:gs pos="1250">
                      <a:srgbClr val="FFFFFF"/>
                    </a:gs>
                    <a:gs pos="100000">
                      <a:srgbClr val="FFFFFF"/>
                    </a:gs>
                  </a:gsLst>
                  <a:lin ang="5400000" scaled="0"/>
                </a:gradFill>
                <a:latin typeface="Segoe UI Light"/>
              </a:rPr>
            </a:br>
            <a:r>
              <a:rPr lang="en-US" sz="5399" spc="-40">
                <a:gradFill>
                  <a:gsLst>
                    <a:gs pos="1250">
                      <a:srgbClr val="FFFFFF"/>
                    </a:gs>
                    <a:gs pos="100000">
                      <a:srgbClr val="FFFFFF"/>
                    </a:gs>
                  </a:gsLst>
                  <a:lin ang="5400000" scaled="0"/>
                </a:gradFill>
                <a:latin typeface="Segoe UI Light"/>
              </a:rPr>
              <a:t>Azure</a:t>
            </a:r>
          </a:p>
        </p:txBody>
      </p:sp>
      <p:sp>
        <p:nvSpPr>
          <p:cNvPr id="20" name="Rectangle 19"/>
          <p:cNvSpPr/>
          <p:nvPr/>
        </p:nvSpPr>
        <p:spPr>
          <a:xfrm>
            <a:off x="6768444" y="2394888"/>
            <a:ext cx="5667148"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F50"/>
                </a:solidFill>
                <a:latin typeface="Segoe UI"/>
                <a:cs typeface="Segoe UI" pitchFamily="34" charset="0"/>
              </a:rPr>
              <a:t>Open and Hybrid</a:t>
            </a:r>
          </a:p>
          <a:p>
            <a:pPr defTabSz="932330">
              <a:defRPr/>
            </a:pPr>
            <a:r>
              <a:rPr lang="en-US" sz="1632" kern="0" dirty="0">
                <a:gradFill>
                  <a:gsLst>
                    <a:gs pos="82143">
                      <a:srgbClr val="505050"/>
                    </a:gs>
                    <a:gs pos="50000">
                      <a:srgbClr val="505050"/>
                    </a:gs>
                  </a:gsLst>
                  <a:lin ang="5400000" scaled="0"/>
                </a:gradFill>
                <a:latin typeface="Segoe UI"/>
              </a:rPr>
              <a:t>Build freely, deploy consistently in the cloud &amp; on-prem</a:t>
            </a:r>
          </a:p>
        </p:txBody>
      </p:sp>
      <p:sp>
        <p:nvSpPr>
          <p:cNvPr id="22" name="Rectangle 21"/>
          <p:cNvSpPr/>
          <p:nvPr/>
        </p:nvSpPr>
        <p:spPr>
          <a:xfrm>
            <a:off x="6768444" y="4744459"/>
            <a:ext cx="4904830"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78D7"/>
                </a:solidFill>
                <a:latin typeface="Segoe UI"/>
                <a:cs typeface="Segoe UI" pitchFamily="34" charset="0"/>
              </a:rPr>
              <a:t>Data-Driven Intelligence</a:t>
            </a:r>
          </a:p>
          <a:p>
            <a:pPr defTabSz="932330">
              <a:defRPr/>
            </a:pPr>
            <a:r>
              <a:rPr lang="en-US" sz="1632" kern="0" dirty="0">
                <a:gradFill>
                  <a:gsLst>
                    <a:gs pos="82143">
                      <a:srgbClr val="505050"/>
                    </a:gs>
                    <a:gs pos="50000">
                      <a:srgbClr val="505050"/>
                    </a:gs>
                  </a:gsLst>
                  <a:lin ang="5400000" scaled="0"/>
                </a:gradFill>
                <a:latin typeface="Segoe UI"/>
              </a:rPr>
              <a:t>Power decisions &amp; apps with insights</a:t>
            </a:r>
          </a:p>
        </p:txBody>
      </p:sp>
      <p:sp>
        <p:nvSpPr>
          <p:cNvPr id="23" name="Rectangle 22"/>
          <p:cNvSpPr/>
          <p:nvPr/>
        </p:nvSpPr>
        <p:spPr>
          <a:xfrm>
            <a:off x="6768445" y="1253986"/>
            <a:ext cx="2799848" cy="1003276"/>
          </a:xfrm>
          <a:prstGeom prst="rect">
            <a:avLst/>
          </a:prstGeom>
        </p:spPr>
        <p:txBody>
          <a:bodyPr wrap="square" lIns="182854" tIns="146283" rIns="182854" bIns="146283">
            <a:spAutoFit/>
          </a:bodyPr>
          <a:lstStyle/>
          <a:p>
            <a:pPr defTabSz="932330">
              <a:defRPr/>
            </a:pPr>
            <a:r>
              <a:rPr lang="en-US" sz="2800" b="1" kern="0" dirty="0">
                <a:ln w="3175">
                  <a:noFill/>
                </a:ln>
                <a:solidFill>
                  <a:srgbClr val="00BCF3"/>
                </a:solidFill>
                <a:latin typeface="Segoe UI"/>
                <a:cs typeface="Segoe UI" pitchFamily="34" charset="0"/>
              </a:rPr>
              <a:t>Trust</a:t>
            </a:r>
          </a:p>
          <a:p>
            <a:pPr defTabSz="932330">
              <a:defRPr/>
            </a:pPr>
            <a:r>
              <a:rPr lang="en-US" sz="1632" kern="0" dirty="0">
                <a:gradFill>
                  <a:gsLst>
                    <a:gs pos="82143">
                      <a:srgbClr val="505050"/>
                    </a:gs>
                    <a:gs pos="50000">
                      <a:srgbClr val="505050"/>
                    </a:gs>
                  </a:gsLst>
                  <a:lin ang="5400000" scaled="0"/>
                </a:gradFill>
                <a:latin typeface="Segoe UI"/>
              </a:rPr>
              <a:t>Protect your business</a:t>
            </a:r>
          </a:p>
        </p:txBody>
      </p:sp>
      <p:sp>
        <p:nvSpPr>
          <p:cNvPr id="24" name="Rectangle 23"/>
          <p:cNvSpPr/>
          <p:nvPr/>
        </p:nvSpPr>
        <p:spPr>
          <a:xfrm>
            <a:off x="6768444" y="3538667"/>
            <a:ext cx="5463889"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88F"/>
                </a:solidFill>
                <a:latin typeface="Segoe UI"/>
                <a:cs typeface="Segoe UI" pitchFamily="34" charset="0"/>
              </a:rPr>
              <a:t>App Innovation</a:t>
            </a:r>
          </a:p>
          <a:p>
            <a:pPr defTabSz="932330">
              <a:defRPr/>
            </a:pPr>
            <a:r>
              <a:rPr lang="en-US" sz="1632" kern="0" dirty="0">
                <a:gradFill>
                  <a:gsLst>
                    <a:gs pos="82143">
                      <a:srgbClr val="505050"/>
                    </a:gs>
                    <a:gs pos="50000">
                      <a:srgbClr val="505050"/>
                    </a:gs>
                  </a:gsLst>
                  <a:lin ang="5400000" scaled="0"/>
                </a:gradFill>
                <a:latin typeface="Segoe UI"/>
              </a:rPr>
              <a:t>Accelerate innovation with the cloud</a:t>
            </a:r>
          </a:p>
        </p:txBody>
      </p:sp>
      <p:sp>
        <p:nvSpPr>
          <p:cNvPr id="29" name="Freeform 6"/>
          <p:cNvSpPr>
            <a:spLocks noEditPoints="1"/>
          </p:cNvSpPr>
          <p:nvPr/>
        </p:nvSpPr>
        <p:spPr bwMode="auto">
          <a:xfrm>
            <a:off x="6176529" y="4994029"/>
            <a:ext cx="324194" cy="540082"/>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64B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7"/>
          <p:cNvSpPr>
            <a:spLocks noEditPoints="1"/>
          </p:cNvSpPr>
          <p:nvPr/>
        </p:nvSpPr>
        <p:spPr bwMode="auto">
          <a:xfrm>
            <a:off x="6143567" y="1556215"/>
            <a:ext cx="390117" cy="4296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Freeform 8"/>
          <p:cNvSpPr>
            <a:spLocks noEditPoints="1"/>
          </p:cNvSpPr>
          <p:nvPr/>
        </p:nvSpPr>
        <p:spPr bwMode="auto">
          <a:xfrm>
            <a:off x="6068007" y="3847587"/>
            <a:ext cx="541238" cy="370179"/>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Freeform 5"/>
          <p:cNvSpPr>
            <a:spLocks/>
          </p:cNvSpPr>
          <p:nvPr/>
        </p:nvSpPr>
        <p:spPr bwMode="auto">
          <a:xfrm>
            <a:off x="6094793" y="2644890"/>
            <a:ext cx="487665" cy="50327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64189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400"/>
                                        <p:tgtEl>
                                          <p:spTgt spid="25"/>
                                        </p:tgtEl>
                                      </p:cBhvr>
                                    </p:animEffect>
                                  </p:childTnLst>
                                </p:cTn>
                              </p:par>
                              <p:par>
                                <p:cTn id="8" presetID="42" presetClass="path" presetSubtype="0" accel="50000" decel="50000" fill="hold" grpId="1" nodeType="withEffect">
                                  <p:stCondLst>
                                    <p:cond delay="0"/>
                                  </p:stCondLst>
                                  <p:childTnLst>
                                    <p:animMotion origin="layout" path="M -4.44218E-6 3.33182E-6 L -4.44218E-6 0.17975 " pathEditMode="relative" rAng="0" ptsTypes="AA">
                                      <p:cBhvr>
                                        <p:cTn id="9" dur="800" spd="-100000" fill="hold"/>
                                        <p:tgtEl>
                                          <p:spTgt spid="25"/>
                                        </p:tgtEl>
                                        <p:attrNameLst>
                                          <p:attrName>ppt_x</p:attrName>
                                          <p:attrName>ppt_y</p:attrName>
                                        </p:attrNameLst>
                                      </p:cBhvr>
                                      <p:rCtr x="0" y="8988"/>
                                    </p:animMotion>
                                  </p:childTnLst>
                                </p:cTn>
                              </p:par>
                              <p:par>
                                <p:cTn id="10" presetID="2" presetClass="entr" presetSubtype="8"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0-#ppt_w/2"/>
                                          </p:val>
                                        </p:tav>
                                        <p:tav tm="100000">
                                          <p:val>
                                            <p:strVal val="#ppt_x"/>
                                          </p:val>
                                        </p:tav>
                                      </p:tavLst>
                                    </p:anim>
                                    <p:anim calcmode="lin" valueType="num">
                                      <p:cBhvr additive="base">
                                        <p:cTn id="13" dur="500" fill="hold"/>
                                        <p:tgtEl>
                                          <p:spTgt spid="21"/>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500"/>
                                        <p:tgtEl>
                                          <p:spTgt spid="14"/>
                                        </p:tgtEl>
                                      </p:cBhvr>
                                    </p:animEffect>
                                  </p:childTnLst>
                                </p:cTn>
                              </p:par>
                              <p:par>
                                <p:cTn id="18" presetID="22" presetClass="entr" presetSubtype="8" fill="hold"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nodeType="withEffect">
                                  <p:stCondLst>
                                    <p:cond delay="0"/>
                                  </p:stCondLst>
                                  <p:childTnLst>
                                    <p:set>
                                      <p:cBhvr>
                                        <p:cTn id="34" dur="1" fill="hold">
                                          <p:stCondLst>
                                            <p:cond delay="0"/>
                                          </p:stCondLst>
                                        </p:cTn>
                                        <p:tgtEl>
                                          <p:spTgt spid="23">
                                            <p:txEl>
                                              <p:pRg st="0" end="0"/>
                                            </p:txEl>
                                          </p:spTgt>
                                        </p:tgtEl>
                                        <p:attrNameLst>
                                          <p:attrName>style.visibility</p:attrName>
                                        </p:attrNameLst>
                                      </p:cBhvr>
                                      <p:to>
                                        <p:strVal val="visible"/>
                                      </p:to>
                                    </p:set>
                                    <p:animEffect transition="in" filter="fade">
                                      <p:cBhvr>
                                        <p:cTn id="35" dur="500"/>
                                        <p:tgtEl>
                                          <p:spTgt spid="23">
                                            <p:txEl>
                                              <p:pRg st="0" end="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3">
                                            <p:txEl>
                                              <p:pRg st="1" end="1"/>
                                            </p:txEl>
                                          </p:spTgt>
                                        </p:tgtEl>
                                        <p:attrNameLst>
                                          <p:attrName>style.visibility</p:attrName>
                                        </p:attrNameLst>
                                      </p:cBhvr>
                                      <p:to>
                                        <p:strVal val="visible"/>
                                      </p:to>
                                    </p:set>
                                    <p:animEffect transition="in" filter="fade">
                                      <p:cBhvr>
                                        <p:cTn id="38" dur="500"/>
                                        <p:tgtEl>
                                          <p:spTgt spid="2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p:bldP spid="25" grpId="1"/>
      <p:bldP spid="20" grpId="0"/>
      <p:bldP spid="22" grpId="0"/>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883" y="496"/>
            <a:ext cx="12434711" cy="15877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itle 1"/>
          <p:cNvSpPr txBox="1">
            <a:spLocks/>
          </p:cNvSpPr>
          <p:nvPr/>
        </p:nvSpPr>
        <p:spPr>
          <a:xfrm>
            <a:off x="275481" y="295731"/>
            <a:ext cx="11887878" cy="917444"/>
          </a:xfrm>
          <a:prstGeom prst="rect">
            <a:avLst/>
          </a:prstGeom>
        </p:spPr>
        <p:txBody>
          <a:bodyPr vert="horz" wrap="square" lIns="146283" tIns="91427" rIns="146283" bIns="91427"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r>
              <a:rPr lang="en-US" sz="4488" spc="-104">
                <a:gradFill>
                  <a:gsLst>
                    <a:gs pos="1250">
                      <a:srgbClr val="FFFFFF"/>
                    </a:gs>
                    <a:gs pos="100000">
                      <a:srgbClr val="FFFFFF"/>
                    </a:gs>
                  </a:gsLst>
                  <a:lin ang="5400000" scaled="0"/>
                </a:gradFill>
                <a:latin typeface="Segoe UI Light"/>
              </a:rPr>
              <a:t>Power decisions &amp; apps with insights</a:t>
            </a:r>
            <a:endParaRPr lang="en-US" sz="4488" spc="-30">
              <a:gradFill>
                <a:gsLst>
                  <a:gs pos="1250">
                    <a:srgbClr val="FFFFFF"/>
                  </a:gs>
                  <a:gs pos="100000">
                    <a:srgbClr val="FFFFFF"/>
                  </a:gs>
                </a:gsLst>
                <a:lin ang="5400000" scaled="0"/>
              </a:gradFill>
              <a:latin typeface="Segoe UI Light"/>
            </a:endParaRPr>
          </a:p>
        </p:txBody>
      </p:sp>
      <p:sp>
        <p:nvSpPr>
          <p:cNvPr id="13" name="Text Placeholder 3"/>
          <p:cNvSpPr txBox="1">
            <a:spLocks/>
          </p:cNvSpPr>
          <p:nvPr/>
        </p:nvSpPr>
        <p:spPr>
          <a:xfrm>
            <a:off x="334021" y="4460606"/>
            <a:ext cx="3755226"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r>
              <a:rPr lang="en-US" sz="3264">
                <a:solidFill>
                  <a:srgbClr val="008EFF"/>
                </a:solidFill>
                <a:latin typeface="Segoe UI Light"/>
              </a:rPr>
              <a:t>Support business strategy with </a:t>
            </a:r>
            <a:br>
              <a:rPr lang="en-US" sz="3264">
                <a:solidFill>
                  <a:srgbClr val="008EFF"/>
                </a:solidFill>
                <a:latin typeface="Segoe UI Light"/>
              </a:rPr>
            </a:br>
            <a:r>
              <a:rPr lang="en-US" sz="3264">
                <a:solidFill>
                  <a:srgbClr val="008EFF"/>
                </a:solidFill>
                <a:latin typeface="Segoe UI Light"/>
              </a:rPr>
              <a:t>any data</a:t>
            </a:r>
          </a:p>
        </p:txBody>
      </p:sp>
      <p:sp>
        <p:nvSpPr>
          <p:cNvPr id="14" name="Text Placeholder 3"/>
          <p:cNvSpPr txBox="1">
            <a:spLocks/>
          </p:cNvSpPr>
          <p:nvPr/>
        </p:nvSpPr>
        <p:spPr>
          <a:xfrm>
            <a:off x="8164844" y="4460605"/>
            <a:ext cx="3872446"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r>
              <a:rPr lang="en-US" sz="3264">
                <a:ln w="3175">
                  <a:noFill/>
                </a:ln>
                <a:solidFill>
                  <a:srgbClr val="008EFF"/>
                </a:solidFill>
                <a:latin typeface="Segoe UI Light"/>
                <a:cs typeface="Segoe UI" pitchFamily="34" charset="0"/>
              </a:rPr>
              <a:t>Learn and engage with artificial intelligence</a:t>
            </a:r>
          </a:p>
        </p:txBody>
      </p:sp>
      <p:sp>
        <p:nvSpPr>
          <p:cNvPr id="15" name="Text Placeholder 3"/>
          <p:cNvSpPr txBox="1">
            <a:spLocks/>
          </p:cNvSpPr>
          <p:nvPr/>
        </p:nvSpPr>
        <p:spPr>
          <a:xfrm>
            <a:off x="4516843" y="4460606"/>
            <a:ext cx="3375298"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r>
              <a:rPr lang="en-US" sz="3264">
                <a:ln w="3175">
                  <a:noFill/>
                </a:ln>
                <a:solidFill>
                  <a:srgbClr val="008EFF"/>
                </a:solidFill>
                <a:latin typeface="Segoe UI Light"/>
                <a:cs typeface="Segoe UI" pitchFamily="34" charset="0"/>
              </a:rPr>
              <a:t>Predict and respond proactively</a:t>
            </a:r>
          </a:p>
        </p:txBody>
      </p:sp>
      <p:cxnSp>
        <p:nvCxnSpPr>
          <p:cNvPr id="25" name="Straight Connector 24"/>
          <p:cNvCxnSpPr/>
          <p:nvPr/>
        </p:nvCxnSpPr>
        <p:spPr>
          <a:xfrm>
            <a:off x="987289" y="4214650"/>
            <a:ext cx="10450936" cy="0"/>
          </a:xfrm>
          <a:prstGeom prst="line">
            <a:avLst/>
          </a:prstGeom>
          <a:ln w="317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a:stretch>
            <a:fillRect/>
          </a:stretch>
        </p:blipFill>
        <p:spPr>
          <a:xfrm>
            <a:off x="1704178" y="2741399"/>
            <a:ext cx="997367" cy="673547"/>
          </a:xfrm>
          <a:prstGeom prst="rect">
            <a:avLst/>
          </a:prstGeom>
        </p:spPr>
      </p:pic>
      <p:pic>
        <p:nvPicPr>
          <p:cNvPr id="20" name="Picture 19"/>
          <p:cNvPicPr>
            <a:picLocks noChangeAspect="1"/>
          </p:cNvPicPr>
          <p:nvPr/>
        </p:nvPicPr>
        <p:blipFill>
          <a:blip r:embed="rId4"/>
          <a:stretch>
            <a:fillRect/>
          </a:stretch>
        </p:blipFill>
        <p:spPr>
          <a:xfrm>
            <a:off x="5725735" y="2605395"/>
            <a:ext cx="945556" cy="945556"/>
          </a:xfrm>
          <a:prstGeom prst="rect">
            <a:avLst/>
          </a:prstGeom>
        </p:spPr>
      </p:pic>
      <p:pic>
        <p:nvPicPr>
          <p:cNvPr id="26" name="Picture 25"/>
          <p:cNvPicPr>
            <a:picLocks noChangeAspect="1"/>
          </p:cNvPicPr>
          <p:nvPr/>
        </p:nvPicPr>
        <p:blipFill>
          <a:blip r:embed="rId5"/>
          <a:stretch>
            <a:fillRect/>
          </a:stretch>
        </p:blipFill>
        <p:spPr>
          <a:xfrm>
            <a:off x="9816104" y="2598918"/>
            <a:ext cx="569924" cy="958509"/>
          </a:xfrm>
          <a:prstGeom prst="rect">
            <a:avLst/>
          </a:prstGeom>
        </p:spPr>
      </p:pic>
      <p:sp>
        <p:nvSpPr>
          <p:cNvPr id="16" name="Rectangle 15"/>
          <p:cNvSpPr/>
          <p:nvPr/>
        </p:nvSpPr>
        <p:spPr>
          <a:xfrm>
            <a:off x="9650735" y="959212"/>
            <a:ext cx="2776910" cy="698790"/>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Data-Driven Intelligence</a:t>
            </a:r>
          </a:p>
          <a:p>
            <a:pPr algn="ctr" defTabSz="932330">
              <a:lnSpc>
                <a:spcPct val="90000"/>
              </a:lnSpc>
              <a:defRPr/>
            </a:pPr>
            <a:endParaRPr lang="en-US" sz="1428" b="1" kern="0" dirty="0">
              <a:ln w="3175">
                <a:noFill/>
              </a:ln>
              <a:solidFill>
                <a:srgbClr val="FFFFFF"/>
              </a:solidFill>
              <a:latin typeface="Segoe UI"/>
              <a:cs typeface="Segoe UI" pitchFamily="34" charset="0"/>
            </a:endParaRPr>
          </a:p>
        </p:txBody>
      </p:sp>
      <p:sp>
        <p:nvSpPr>
          <p:cNvPr id="17" name="Freeform 12"/>
          <p:cNvSpPr>
            <a:spLocks noChangeAspect="1" noEditPoints="1"/>
          </p:cNvSpPr>
          <p:nvPr/>
        </p:nvSpPr>
        <p:spPr bwMode="auto">
          <a:xfrm>
            <a:off x="10829309" y="244005"/>
            <a:ext cx="419763" cy="695173"/>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Tree>
    <p:extLst>
      <p:ext uri="{BB962C8B-B14F-4D97-AF65-F5344CB8AC3E}">
        <p14:creationId xmlns:p14="http://schemas.microsoft.com/office/powerpoint/2010/main" val="2258970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42" presetClass="path" presetSubtype="0" decel="100000" fill="hold" grpId="1" nodeType="withEffect">
                                  <p:stCondLst>
                                    <p:cond delay="0"/>
                                  </p:stCondLst>
                                  <p:childTnLst>
                                    <p:animMotion origin="layout" path="M -4.375E-6 3.33333E-6 L -4.375E-6 0.0912 " pathEditMode="relative" rAng="0" ptsTypes="AA">
                                      <p:cBhvr>
                                        <p:cTn id="13" dur="600" spd="-100000" fill="hold"/>
                                        <p:tgtEl>
                                          <p:spTgt spid="13"/>
                                        </p:tgtEl>
                                        <p:attrNameLst>
                                          <p:attrName>ppt_x</p:attrName>
                                          <p:attrName>ppt_y</p:attrName>
                                        </p:attrNameLst>
                                      </p:cBhvr>
                                      <p:rCtr x="0" y="4560"/>
                                    </p:animMotion>
                                  </p:childTnLst>
                                </p:cTn>
                              </p:par>
                              <p:par>
                                <p:cTn id="14" presetID="10" presetClass="entr" presetSubtype="0" fill="hold" grpId="0"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42" presetClass="path" presetSubtype="0" decel="100000" fill="hold" grpId="1" nodeType="withEffect">
                                  <p:stCondLst>
                                    <p:cond delay="100"/>
                                  </p:stCondLst>
                                  <p:childTnLst>
                                    <p:animMotion origin="layout" path="M 1.875E-6 3.33333E-6 L 1.875E-6 0.0912 " pathEditMode="relative" rAng="0" ptsTypes="AA">
                                      <p:cBhvr>
                                        <p:cTn id="18" dur="600" spd="-100000" fill="hold"/>
                                        <p:tgtEl>
                                          <p:spTgt spid="15"/>
                                        </p:tgtEl>
                                        <p:attrNameLst>
                                          <p:attrName>ppt_x</p:attrName>
                                          <p:attrName>ppt_y</p:attrName>
                                        </p:attrNameLst>
                                      </p:cBhvr>
                                      <p:rCtr x="0" y="4560"/>
                                    </p:animMotion>
                                  </p:childTnLst>
                                </p:cTn>
                              </p:par>
                              <p:par>
                                <p:cTn id="19" presetID="10" presetClass="entr" presetSubtype="0" fill="hold" grpId="0" nodeType="withEffect">
                                  <p:stCondLst>
                                    <p:cond delay="2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200"/>
                                  </p:stCondLst>
                                  <p:childTnLst>
                                    <p:animMotion origin="layout" path="M 4.16667E-7 7.40741E-7 L 4.16667E-7 0.0912 " pathEditMode="relative" rAng="0" ptsTypes="AA">
                                      <p:cBhvr>
                                        <p:cTn id="23" dur="600" spd="-100000" fill="hold"/>
                                        <p:tgtEl>
                                          <p:spTgt spid="14"/>
                                        </p:tgtEl>
                                        <p:attrNameLst>
                                          <p:attrName>ppt_x</p:attrName>
                                          <p:attrName>ppt_y</p:attrName>
                                        </p:attrNameLst>
                                      </p:cBhvr>
                                      <p:rCtr x="0" y="4560"/>
                                    </p:animMotion>
                                  </p:childTnLst>
                                </p:cTn>
                              </p:par>
                              <p:par>
                                <p:cTn id="24" presetID="23" presetClass="entr" presetSubtype="272"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p:cTn id="26" dur="500" fill="hold"/>
                                        <p:tgtEl>
                                          <p:spTgt spid="19"/>
                                        </p:tgtEl>
                                        <p:attrNameLst>
                                          <p:attrName>ppt_w</p:attrName>
                                        </p:attrNameLst>
                                      </p:cBhvr>
                                      <p:tavLst>
                                        <p:tav tm="0">
                                          <p:val>
                                            <p:strVal val="2/3*#ppt_w"/>
                                          </p:val>
                                        </p:tav>
                                        <p:tav tm="100000">
                                          <p:val>
                                            <p:strVal val="#ppt_w"/>
                                          </p:val>
                                        </p:tav>
                                      </p:tavLst>
                                    </p:anim>
                                    <p:anim calcmode="lin" valueType="num">
                                      <p:cBhvr>
                                        <p:cTn id="27" dur="500" fill="hold"/>
                                        <p:tgtEl>
                                          <p:spTgt spid="19"/>
                                        </p:tgtEl>
                                        <p:attrNameLst>
                                          <p:attrName>ppt_h</p:attrName>
                                        </p:attrNameLst>
                                      </p:cBhvr>
                                      <p:tavLst>
                                        <p:tav tm="0">
                                          <p:val>
                                            <p:strVal val="2/3*#ppt_h"/>
                                          </p:val>
                                        </p:tav>
                                        <p:tav tm="100000">
                                          <p:val>
                                            <p:strVal val="#ppt_h"/>
                                          </p:val>
                                        </p:tav>
                                      </p:tavLst>
                                    </p:anim>
                                  </p:childTnLst>
                                </p:cTn>
                              </p:par>
                              <p:par>
                                <p:cTn id="28" presetID="23" presetClass="entr" presetSubtype="272"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strVal val="2/3*#ppt_w"/>
                                          </p:val>
                                        </p:tav>
                                        <p:tav tm="100000">
                                          <p:val>
                                            <p:strVal val="#ppt_w"/>
                                          </p:val>
                                        </p:tav>
                                      </p:tavLst>
                                    </p:anim>
                                    <p:anim calcmode="lin" valueType="num">
                                      <p:cBhvr>
                                        <p:cTn id="31" dur="500" fill="hold"/>
                                        <p:tgtEl>
                                          <p:spTgt spid="20"/>
                                        </p:tgtEl>
                                        <p:attrNameLst>
                                          <p:attrName>ppt_h</p:attrName>
                                        </p:attrNameLst>
                                      </p:cBhvr>
                                      <p:tavLst>
                                        <p:tav tm="0">
                                          <p:val>
                                            <p:strVal val="2/3*#ppt_h"/>
                                          </p:val>
                                        </p:tav>
                                        <p:tav tm="100000">
                                          <p:val>
                                            <p:strVal val="#ppt_h"/>
                                          </p:val>
                                        </p:tav>
                                      </p:tavLst>
                                    </p:anim>
                                  </p:childTnLst>
                                </p:cTn>
                              </p:par>
                              <p:par>
                                <p:cTn id="32" presetID="23" presetClass="entr" presetSubtype="272" fill="hold" nodeType="withEffect">
                                  <p:stCondLst>
                                    <p:cond delay="0"/>
                                  </p:stCondLst>
                                  <p:childTnLst>
                                    <p:set>
                                      <p:cBhvr>
                                        <p:cTn id="33" dur="1" fill="hold">
                                          <p:stCondLst>
                                            <p:cond delay="0"/>
                                          </p:stCondLst>
                                        </p:cTn>
                                        <p:tgtEl>
                                          <p:spTgt spid="26"/>
                                        </p:tgtEl>
                                        <p:attrNameLst>
                                          <p:attrName>style.visibility</p:attrName>
                                        </p:attrNameLst>
                                      </p:cBhvr>
                                      <p:to>
                                        <p:strVal val="visible"/>
                                      </p:to>
                                    </p:set>
                                    <p:anim calcmode="lin" valueType="num">
                                      <p:cBhvr>
                                        <p:cTn id="34" dur="500" fill="hold"/>
                                        <p:tgtEl>
                                          <p:spTgt spid="26"/>
                                        </p:tgtEl>
                                        <p:attrNameLst>
                                          <p:attrName>ppt_w</p:attrName>
                                        </p:attrNameLst>
                                      </p:cBhvr>
                                      <p:tavLst>
                                        <p:tav tm="0">
                                          <p:val>
                                            <p:strVal val="2/3*#ppt_w"/>
                                          </p:val>
                                        </p:tav>
                                        <p:tav tm="100000">
                                          <p:val>
                                            <p:strVal val="#ppt_w"/>
                                          </p:val>
                                        </p:tav>
                                      </p:tavLst>
                                    </p:anim>
                                    <p:anim calcmode="lin" valueType="num">
                                      <p:cBhvr>
                                        <p:cTn id="35" dur="500" fill="hold"/>
                                        <p:tgtEl>
                                          <p:spTgt spid="26"/>
                                        </p:tgtEl>
                                        <p:attrNameLst>
                                          <p:attrName>ppt_h</p:attrName>
                                        </p:attrNameLst>
                                      </p:cBhvr>
                                      <p:tavLst>
                                        <p:tav tm="0">
                                          <p:val>
                                            <p:strVal val="2/3*#ppt_h"/>
                                          </p:val>
                                        </p:tav>
                                        <p:tav tm="100000">
                                          <p:val>
                                            <p:strVal val="#ppt_h"/>
                                          </p:val>
                                        </p:tav>
                                      </p:tavLst>
                                    </p:anim>
                                  </p:childTnLst>
                                </p:cTn>
                              </p:par>
                              <p:par>
                                <p:cTn id="36" presetID="16" presetClass="entr" presetSubtype="37" fill="hold"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barn(outVertical)">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3" grpId="0"/>
      <p:bldP spid="13" grpId="1"/>
      <p:bldP spid="14" grpId="0"/>
      <p:bldP spid="14" grpId="1"/>
      <p:bldP spid="15" grpId="0"/>
      <p:bldP spid="15"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bwMode="auto">
          <a:xfrm>
            <a:off x="883" y="496"/>
            <a:ext cx="12434711" cy="15877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itle 13"/>
          <p:cNvSpPr>
            <a:spLocks noGrp="1"/>
          </p:cNvSpPr>
          <p:nvPr>
            <p:ph type="title"/>
          </p:nvPr>
        </p:nvSpPr>
        <p:spPr>
          <a:xfrm>
            <a:off x="275482" y="295731"/>
            <a:ext cx="11887878" cy="917444"/>
          </a:xfrm>
        </p:spPr>
        <p:txBody>
          <a:bodyPr/>
          <a:lstStyle/>
          <a:p>
            <a:pPr lvl="0">
              <a:defRPr/>
            </a:pPr>
            <a:r>
              <a:rPr lang="en-US" sz="4488">
                <a:gradFill>
                  <a:gsLst>
                    <a:gs pos="1250">
                      <a:schemeClr val="bg1"/>
                    </a:gs>
                    <a:gs pos="100000">
                      <a:schemeClr val="bg1"/>
                    </a:gs>
                  </a:gsLst>
                  <a:lin ang="5400000" scaled="0"/>
                </a:gradFill>
              </a:rPr>
              <a:t>Support business strategy with any data </a:t>
            </a:r>
          </a:p>
        </p:txBody>
      </p:sp>
      <p:grpSp>
        <p:nvGrpSpPr>
          <p:cNvPr id="5" name="Group 4"/>
          <p:cNvGrpSpPr/>
          <p:nvPr/>
        </p:nvGrpSpPr>
        <p:grpSpPr>
          <a:xfrm>
            <a:off x="1179944" y="3698566"/>
            <a:ext cx="3513098" cy="2743474"/>
            <a:chOff x="1219953" y="3192546"/>
            <a:chExt cx="3202418" cy="3207761"/>
          </a:xfrm>
        </p:grpSpPr>
        <p:sp>
          <p:nvSpPr>
            <p:cNvPr id="2" name="Oval 1"/>
            <p:cNvSpPr/>
            <p:nvPr/>
          </p:nvSpPr>
          <p:spPr bwMode="auto">
            <a:xfrm>
              <a:off x="1219953" y="3192546"/>
              <a:ext cx="3202418" cy="3207761"/>
            </a:xfrm>
            <a:prstGeom prst="ellipse">
              <a:avLst/>
            </a:prstGeom>
            <a:solidFill>
              <a:srgbClr val="001F50"/>
            </a:solidFill>
            <a:ln w="28575"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0" rIns="186494" bIns="0" numCol="1" spcCol="0" rtlCol="0" fromWordArt="0" anchor="t" anchorCtr="0" forceAA="0" compatLnSpc="1">
              <a:prstTxWarp prst="textNoShape">
                <a:avLst/>
              </a:prstTxWarp>
              <a:noAutofit/>
            </a:bodyPr>
            <a:lstStyle/>
            <a:p>
              <a:pPr algn="ctr" defTabSz="932597" fontAlgn="base">
                <a:lnSpc>
                  <a:spcPct val="90000"/>
                </a:lnSpc>
                <a:spcBef>
                  <a:spcPct val="0"/>
                </a:spcBef>
                <a:spcAft>
                  <a:spcPts val="612"/>
                </a:spcAft>
                <a:defRPr/>
              </a:pPr>
              <a:endParaRPr lang="en-US" sz="1599" b="1">
                <a:solidFill>
                  <a:srgbClr val="FFFFFF"/>
                </a:solidFill>
                <a:latin typeface="Segoe UI Semilight" panose="020B0402040204020203" pitchFamily="34" charset="0"/>
                <a:cs typeface="Segoe UI Semilight" panose="020B0402040204020203" pitchFamily="34" charset="0"/>
              </a:endParaRPr>
            </a:p>
          </p:txBody>
        </p:sp>
        <p:sp>
          <p:nvSpPr>
            <p:cNvPr id="70" name="Oval 69"/>
            <p:cNvSpPr/>
            <p:nvPr/>
          </p:nvSpPr>
          <p:spPr bwMode="auto">
            <a:xfrm>
              <a:off x="1657166" y="4066972"/>
              <a:ext cx="2327992" cy="2331876"/>
            </a:xfrm>
            <a:prstGeom prst="ellipse">
              <a:avLst/>
            </a:prstGeom>
            <a:solidFill>
              <a:srgbClr val="00327A"/>
            </a:solidFill>
            <a:ln w="28575"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597" fontAlgn="base">
                <a:lnSpc>
                  <a:spcPct val="90000"/>
                </a:lnSpc>
                <a:spcBef>
                  <a:spcPct val="0"/>
                </a:spcBef>
                <a:spcAft>
                  <a:spcPts val="612"/>
                </a:spcAft>
                <a:defRPr/>
              </a:pPr>
              <a:endParaRPr lang="en-US" sz="1599" b="1">
                <a:solidFill>
                  <a:srgbClr val="FFFFFF"/>
                </a:solidFill>
                <a:latin typeface="Segoe UI Semilight" panose="020B0402040204020203" pitchFamily="34" charset="0"/>
                <a:cs typeface="Segoe UI Semilight" panose="020B0402040204020203" pitchFamily="34" charset="0"/>
              </a:endParaRPr>
            </a:p>
          </p:txBody>
        </p:sp>
        <p:sp>
          <p:nvSpPr>
            <p:cNvPr id="71" name="Oval 70"/>
            <p:cNvSpPr/>
            <p:nvPr/>
          </p:nvSpPr>
          <p:spPr bwMode="auto">
            <a:xfrm>
              <a:off x="2121303" y="4949326"/>
              <a:ext cx="1426282" cy="1426282"/>
            </a:xfrm>
            <a:prstGeom prst="ellipse">
              <a:avLst/>
            </a:prstGeom>
            <a:solidFill>
              <a:srgbClr val="0064B7"/>
            </a:solidFill>
            <a:ln w="28575"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597" fontAlgn="base">
                <a:lnSpc>
                  <a:spcPct val="90000"/>
                </a:lnSpc>
                <a:spcBef>
                  <a:spcPct val="0"/>
                </a:spcBef>
                <a:spcAft>
                  <a:spcPts val="612"/>
                </a:spcAft>
                <a:defRPr/>
              </a:pPr>
              <a:endParaRPr lang="en-US" sz="1599" b="1">
                <a:solidFill>
                  <a:srgbClr val="FFFFFF"/>
                </a:solidFill>
                <a:latin typeface="Segoe UI Semilight" panose="020B0402040204020203" pitchFamily="34" charset="0"/>
                <a:cs typeface="Segoe UI Semilight" panose="020B0402040204020203" pitchFamily="34" charset="0"/>
              </a:endParaRPr>
            </a:p>
          </p:txBody>
        </p:sp>
        <p:sp>
          <p:nvSpPr>
            <p:cNvPr id="3" name="Rectangle 2"/>
            <p:cNvSpPr/>
            <p:nvPr/>
          </p:nvSpPr>
          <p:spPr>
            <a:xfrm>
              <a:off x="2202611" y="5434226"/>
              <a:ext cx="1263668" cy="638320"/>
            </a:xfrm>
            <a:prstGeom prst="rect">
              <a:avLst/>
            </a:prstGeom>
          </p:spPr>
          <p:txBody>
            <a:bodyPr wrap="square">
              <a:spAutoFit/>
            </a:bodyPr>
            <a:lstStyle/>
            <a:p>
              <a:pPr algn="ctr" defTabSz="932597" fontAlgn="base">
                <a:lnSpc>
                  <a:spcPct val="90000"/>
                </a:lnSpc>
                <a:spcBef>
                  <a:spcPct val="0"/>
                </a:spcBef>
                <a:spcAft>
                  <a:spcPts val="612"/>
                </a:spcAft>
                <a:defRPr/>
              </a:pPr>
              <a:r>
                <a:rPr lang="en-US" sz="1599" b="1">
                  <a:solidFill>
                    <a:srgbClr val="FFFFFF"/>
                  </a:solidFill>
                  <a:latin typeface="Segoe UI"/>
                  <a:cs typeface="Segoe UI Semilight" panose="020B0402040204020203" pitchFamily="34" charset="0"/>
                </a:rPr>
                <a:t>Traditional data</a:t>
              </a:r>
            </a:p>
          </p:txBody>
        </p:sp>
        <p:sp>
          <p:nvSpPr>
            <p:cNvPr id="90" name="Rectangle 89"/>
            <p:cNvSpPr/>
            <p:nvPr/>
          </p:nvSpPr>
          <p:spPr>
            <a:xfrm>
              <a:off x="2246446" y="4385765"/>
              <a:ext cx="1149434" cy="374214"/>
            </a:xfrm>
            <a:prstGeom prst="rect">
              <a:avLst/>
            </a:prstGeom>
          </p:spPr>
          <p:txBody>
            <a:bodyPr wrap="square">
              <a:spAutoFit/>
            </a:bodyPr>
            <a:lstStyle/>
            <a:p>
              <a:pPr algn="ctr" defTabSz="932597" fontAlgn="base">
                <a:lnSpc>
                  <a:spcPct val="90000"/>
                </a:lnSpc>
                <a:spcBef>
                  <a:spcPct val="0"/>
                </a:spcBef>
                <a:spcAft>
                  <a:spcPts val="612"/>
                </a:spcAft>
                <a:defRPr/>
              </a:pPr>
              <a:r>
                <a:rPr lang="en-US" sz="1599" b="1">
                  <a:solidFill>
                    <a:srgbClr val="FFFFFF"/>
                  </a:solidFill>
                  <a:latin typeface="Segoe UI"/>
                  <a:cs typeface="Segoe UI Semilight" panose="020B0402040204020203" pitchFamily="34" charset="0"/>
                </a:rPr>
                <a:t>Web data</a:t>
              </a:r>
            </a:p>
          </p:txBody>
        </p:sp>
        <p:sp>
          <p:nvSpPr>
            <p:cNvPr id="91" name="Rectangle 90"/>
            <p:cNvSpPr/>
            <p:nvPr/>
          </p:nvSpPr>
          <p:spPr>
            <a:xfrm>
              <a:off x="2246446" y="3450127"/>
              <a:ext cx="1149434" cy="374214"/>
            </a:xfrm>
            <a:prstGeom prst="rect">
              <a:avLst/>
            </a:prstGeom>
          </p:spPr>
          <p:txBody>
            <a:bodyPr wrap="square">
              <a:spAutoFit/>
            </a:bodyPr>
            <a:lstStyle/>
            <a:p>
              <a:pPr algn="ctr" defTabSz="932597" fontAlgn="base">
                <a:lnSpc>
                  <a:spcPct val="90000"/>
                </a:lnSpc>
                <a:spcBef>
                  <a:spcPct val="0"/>
                </a:spcBef>
                <a:spcAft>
                  <a:spcPts val="612"/>
                </a:spcAft>
                <a:defRPr/>
              </a:pPr>
              <a:r>
                <a:rPr lang="en-US" sz="1599" b="1">
                  <a:solidFill>
                    <a:srgbClr val="FFFFFF"/>
                  </a:solidFill>
                  <a:latin typeface="Segoe UI"/>
                  <a:cs typeface="Segoe UI Semilight" panose="020B0402040204020203" pitchFamily="34" charset="0"/>
                </a:rPr>
                <a:t>Big data</a:t>
              </a:r>
            </a:p>
          </p:txBody>
        </p:sp>
      </p:grpSp>
      <p:sp>
        <p:nvSpPr>
          <p:cNvPr id="6" name="TextBox 5"/>
          <p:cNvSpPr txBox="1"/>
          <p:nvPr/>
        </p:nvSpPr>
        <p:spPr>
          <a:xfrm>
            <a:off x="1287865" y="2215111"/>
            <a:ext cx="3143148" cy="683160"/>
          </a:xfrm>
          <a:prstGeom prst="rect">
            <a:avLst/>
          </a:prstGeom>
          <a:noFill/>
        </p:spPr>
        <p:txBody>
          <a:bodyPr wrap="square" lIns="182854" tIns="146283" rIns="182854" bIns="146283" rtlCol="0">
            <a:spAutoFit/>
          </a:bodyPr>
          <a:lstStyle/>
          <a:p>
            <a:pPr algn="ctr" defTabSz="932597">
              <a:lnSpc>
                <a:spcPct val="90000"/>
              </a:lnSpc>
              <a:spcAft>
                <a:spcPts val="600"/>
              </a:spcAft>
              <a:defRPr/>
            </a:pPr>
            <a:r>
              <a:rPr lang="en-US" sz="2652" b="1">
                <a:ln w="3175">
                  <a:noFill/>
                </a:ln>
                <a:gradFill>
                  <a:gsLst>
                    <a:gs pos="93860">
                      <a:srgbClr val="505050"/>
                    </a:gs>
                    <a:gs pos="78571">
                      <a:srgbClr val="505050"/>
                    </a:gs>
                  </a:gsLst>
                  <a:lin ang="5400000" scaled="0"/>
                </a:gradFill>
                <a:latin typeface="Segoe UI"/>
                <a:cs typeface="Segoe UI Semilight" panose="020B0402040204020203" pitchFamily="34" charset="0"/>
              </a:rPr>
              <a:t>Back-end power </a:t>
            </a:r>
          </a:p>
        </p:txBody>
      </p:sp>
      <p:sp>
        <p:nvSpPr>
          <p:cNvPr id="103" name="TextBox 102"/>
          <p:cNvSpPr txBox="1"/>
          <p:nvPr/>
        </p:nvSpPr>
        <p:spPr>
          <a:xfrm>
            <a:off x="7384007" y="2210783"/>
            <a:ext cx="3445302" cy="683160"/>
          </a:xfrm>
          <a:prstGeom prst="rect">
            <a:avLst/>
          </a:prstGeom>
          <a:noFill/>
        </p:spPr>
        <p:txBody>
          <a:bodyPr wrap="square" lIns="182854" tIns="146283" rIns="182854" bIns="146283" rtlCol="0">
            <a:spAutoFit/>
          </a:bodyPr>
          <a:lstStyle/>
          <a:p>
            <a:pPr algn="ctr" defTabSz="932597">
              <a:lnSpc>
                <a:spcPct val="90000"/>
              </a:lnSpc>
              <a:spcAft>
                <a:spcPts val="600"/>
              </a:spcAft>
              <a:defRPr/>
            </a:pPr>
            <a:r>
              <a:rPr lang="en-US" sz="2652" b="1">
                <a:ln w="3175">
                  <a:noFill/>
                </a:ln>
                <a:gradFill>
                  <a:gsLst>
                    <a:gs pos="93860">
                      <a:srgbClr val="505050"/>
                    </a:gs>
                    <a:gs pos="78571">
                      <a:srgbClr val="505050"/>
                    </a:gs>
                  </a:gsLst>
                  <a:lin ang="5400000" scaled="0"/>
                </a:gradFill>
                <a:latin typeface="Segoe UI"/>
                <a:cs typeface="Segoe UI Semilight" panose="020B0402040204020203" pitchFamily="34" charset="0"/>
              </a:rPr>
              <a:t>Front-end insights</a:t>
            </a:r>
          </a:p>
        </p:txBody>
      </p:sp>
      <p:pic>
        <p:nvPicPr>
          <p:cNvPr id="110" name="Picture 10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60754" y="3654269"/>
            <a:ext cx="6202606" cy="2982221"/>
          </a:xfrm>
          <a:prstGeom prst="rect">
            <a:avLst/>
          </a:prstGeom>
        </p:spPr>
      </p:pic>
      <p:sp>
        <p:nvSpPr>
          <p:cNvPr id="112" name="Freeform 12"/>
          <p:cNvSpPr>
            <a:spLocks noChangeAspect="1" noEditPoints="1"/>
          </p:cNvSpPr>
          <p:nvPr/>
        </p:nvSpPr>
        <p:spPr bwMode="auto">
          <a:xfrm>
            <a:off x="10829309" y="244005"/>
            <a:ext cx="419763" cy="695173"/>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cxnSp>
        <p:nvCxnSpPr>
          <p:cNvPr id="88" name="Straight Connector 87"/>
          <p:cNvCxnSpPr/>
          <p:nvPr/>
        </p:nvCxnSpPr>
        <p:spPr>
          <a:xfrm>
            <a:off x="6698669" y="3250567"/>
            <a:ext cx="4847495" cy="0"/>
          </a:xfrm>
          <a:prstGeom prst="line">
            <a:avLst/>
          </a:prstGeom>
          <a:ln w="317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526531" y="3250567"/>
            <a:ext cx="4847495" cy="0"/>
          </a:xfrm>
          <a:prstGeom prst="line">
            <a:avLst/>
          </a:prstGeom>
          <a:ln w="317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9650735" y="959212"/>
            <a:ext cx="2776910" cy="698790"/>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Data-Driven Intelligence</a:t>
            </a:r>
          </a:p>
          <a:p>
            <a:pPr algn="ctr" defTabSz="932330">
              <a:lnSpc>
                <a:spcPct val="90000"/>
              </a:lnSpc>
              <a:defRPr/>
            </a:pPr>
            <a:endParaRPr lang="en-US" sz="1428" b="1" kern="0" dirty="0">
              <a:ln w="3175">
                <a:noFill/>
              </a:ln>
              <a:solidFill>
                <a:srgbClr val="FFFFFF"/>
              </a:solidFill>
              <a:latin typeface="Segoe UI"/>
              <a:cs typeface="Segoe UI" pitchFamily="34" charset="0"/>
            </a:endParaRPr>
          </a:p>
        </p:txBody>
      </p:sp>
    </p:spTree>
    <p:extLst>
      <p:ext uri="{BB962C8B-B14F-4D97-AF65-F5344CB8AC3E}">
        <p14:creationId xmlns:p14="http://schemas.microsoft.com/office/powerpoint/2010/main" val="73655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p:cNvSpPr/>
          <p:nvPr/>
        </p:nvSpPr>
        <p:spPr bwMode="auto">
          <a:xfrm>
            <a:off x="883" y="496"/>
            <a:ext cx="12434711" cy="15877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82" y="295731"/>
            <a:ext cx="11887878" cy="917444"/>
          </a:xfrm>
        </p:spPr>
        <p:txBody>
          <a:bodyPr/>
          <a:lstStyle/>
          <a:p>
            <a:pPr lvl="0">
              <a:defRPr/>
            </a:pPr>
            <a:r>
              <a:rPr lang="en-US" sz="4488">
                <a:gradFill>
                  <a:gsLst>
                    <a:gs pos="1250">
                      <a:schemeClr val="bg1"/>
                    </a:gs>
                    <a:gs pos="100000">
                      <a:schemeClr val="bg1"/>
                    </a:gs>
                  </a:gsLst>
                  <a:lin ang="5400000" scaled="0"/>
                </a:gradFill>
              </a:rPr>
              <a:t>Predict and respond proactively</a:t>
            </a:r>
          </a:p>
        </p:txBody>
      </p:sp>
      <p:sp>
        <p:nvSpPr>
          <p:cNvPr id="171" name="Rectangle 170"/>
          <p:cNvSpPr/>
          <p:nvPr/>
        </p:nvSpPr>
        <p:spPr bwMode="auto">
          <a:xfrm>
            <a:off x="924342" y="3670334"/>
            <a:ext cx="4121271" cy="242369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algn="ctr" defTabSz="950846" fontAlgn="base">
              <a:lnSpc>
                <a:spcPct val="90000"/>
              </a:lnSpc>
              <a:spcBef>
                <a:spcPts val="3599"/>
              </a:spcBef>
              <a:spcAft>
                <a:spcPct val="0"/>
              </a:spcAft>
              <a:defRPr/>
            </a:pPr>
            <a:r>
              <a:rPr lang="en-US" sz="2800" kern="0">
                <a:solidFill>
                  <a:srgbClr val="008EFF"/>
                </a:solidFill>
                <a:latin typeface="Segoe UI Semilight" panose="020B0402040204020203" pitchFamily="34" charset="0"/>
                <a:cs typeface="Segoe UI Semilight" panose="020B0402040204020203" pitchFamily="34" charset="0"/>
              </a:rPr>
              <a:t>Demand forecasting</a:t>
            </a:r>
          </a:p>
          <a:p>
            <a:pPr algn="ctr" defTabSz="950846" fontAlgn="base">
              <a:lnSpc>
                <a:spcPct val="90000"/>
              </a:lnSpc>
              <a:spcBef>
                <a:spcPts val="3599"/>
              </a:spcBef>
              <a:spcAft>
                <a:spcPct val="0"/>
              </a:spcAft>
              <a:defRPr/>
            </a:pPr>
            <a:r>
              <a:rPr lang="en-US" sz="2800" kern="0">
                <a:solidFill>
                  <a:srgbClr val="008EFF"/>
                </a:solidFill>
                <a:latin typeface="Segoe UI Semilight" panose="020B0402040204020203" pitchFamily="34" charset="0"/>
                <a:cs typeface="Segoe UI Semilight" panose="020B0402040204020203" pitchFamily="34" charset="0"/>
              </a:rPr>
              <a:t>Predictive maintenance</a:t>
            </a:r>
          </a:p>
          <a:p>
            <a:pPr algn="ctr" defTabSz="950846" fontAlgn="base">
              <a:lnSpc>
                <a:spcPct val="90000"/>
              </a:lnSpc>
              <a:spcBef>
                <a:spcPts val="3599"/>
              </a:spcBef>
              <a:spcAft>
                <a:spcPct val="0"/>
              </a:spcAft>
              <a:defRPr/>
            </a:pPr>
            <a:r>
              <a:rPr lang="en-US" sz="2800" kern="0">
                <a:solidFill>
                  <a:srgbClr val="008EFF"/>
                </a:solidFill>
                <a:latin typeface="Segoe UI Semilight" panose="020B0402040204020203" pitchFamily="34" charset="0"/>
                <a:cs typeface="Segoe UI Semilight" panose="020B0402040204020203" pitchFamily="34" charset="0"/>
              </a:rPr>
              <a:t>Vehicle telemetry</a:t>
            </a:r>
          </a:p>
        </p:txBody>
      </p:sp>
      <p:grpSp>
        <p:nvGrpSpPr>
          <p:cNvPr id="27" name="Group 26"/>
          <p:cNvGrpSpPr/>
          <p:nvPr/>
        </p:nvGrpSpPr>
        <p:grpSpPr>
          <a:xfrm>
            <a:off x="6581105" y="3620723"/>
            <a:ext cx="5448367" cy="2834238"/>
            <a:chOff x="6581156" y="3280502"/>
            <a:chExt cx="5449140" cy="2834640"/>
          </a:xfrm>
        </p:grpSpPr>
        <p:sp>
          <p:nvSpPr>
            <p:cNvPr id="252" name="Rectangle 251"/>
            <p:cNvSpPr/>
            <p:nvPr/>
          </p:nvSpPr>
          <p:spPr bwMode="auto">
            <a:xfrm>
              <a:off x="10621709" y="3280503"/>
              <a:ext cx="1408587" cy="2542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846" fontAlgn="base">
                <a:lnSpc>
                  <a:spcPct val="90000"/>
                </a:lnSpc>
                <a:spcBef>
                  <a:spcPct val="0"/>
                </a:spcBef>
                <a:spcAft>
                  <a:spcPct val="0"/>
                </a:spcAft>
                <a:defRPr/>
              </a:pPr>
              <a:r>
                <a:rPr lang="en-US" b="1">
                  <a:solidFill>
                    <a:srgbClr val="0064B7"/>
                  </a:solidFill>
                  <a:latin typeface="Segoe UI"/>
                  <a:ea typeface="Segoe UI" pitchFamily="34" charset="0"/>
                  <a:cs typeface="Segoe UI Semilight" panose="020B0402040204020203" pitchFamily="34" charset="0"/>
                </a:rPr>
                <a:t>Clients</a:t>
              </a:r>
            </a:p>
          </p:txBody>
        </p:sp>
        <p:grpSp>
          <p:nvGrpSpPr>
            <p:cNvPr id="253" name="Group 252"/>
            <p:cNvGrpSpPr>
              <a:grpSpLocks noChangeAspect="1"/>
            </p:cNvGrpSpPr>
            <p:nvPr/>
          </p:nvGrpSpPr>
          <p:grpSpPr>
            <a:xfrm>
              <a:off x="11204912" y="3768919"/>
              <a:ext cx="242182" cy="455983"/>
              <a:chOff x="6863683" y="3943490"/>
              <a:chExt cx="265826" cy="500500"/>
            </a:xfrm>
            <a:solidFill>
              <a:schemeClr val="tx1"/>
            </a:solidFill>
          </p:grpSpPr>
          <p:sp>
            <p:nvSpPr>
              <p:cNvPr id="278" name="Freeform 124"/>
              <p:cNvSpPr>
                <a:spLocks noEditPoints="1"/>
              </p:cNvSpPr>
              <p:nvPr/>
            </p:nvSpPr>
            <p:spPr bwMode="auto">
              <a:xfrm>
                <a:off x="6863683" y="3943490"/>
                <a:ext cx="265826" cy="500500"/>
              </a:xfrm>
              <a:custGeom>
                <a:avLst/>
                <a:gdLst>
                  <a:gd name="T0" fmla="*/ 175 w 184"/>
                  <a:gd name="T1" fmla="*/ 0 h 344"/>
                  <a:gd name="T2" fmla="*/ 8 w 184"/>
                  <a:gd name="T3" fmla="*/ 0 h 344"/>
                  <a:gd name="T4" fmla="*/ 0 w 184"/>
                  <a:gd name="T5" fmla="*/ 6 h 344"/>
                  <a:gd name="T6" fmla="*/ 0 w 184"/>
                  <a:gd name="T7" fmla="*/ 335 h 344"/>
                  <a:gd name="T8" fmla="*/ 8 w 184"/>
                  <a:gd name="T9" fmla="*/ 344 h 344"/>
                  <a:gd name="T10" fmla="*/ 175 w 184"/>
                  <a:gd name="T11" fmla="*/ 344 h 344"/>
                  <a:gd name="T12" fmla="*/ 184 w 184"/>
                  <a:gd name="T13" fmla="*/ 335 h 344"/>
                  <a:gd name="T14" fmla="*/ 184 w 184"/>
                  <a:gd name="T15" fmla="*/ 6 h 344"/>
                  <a:gd name="T16" fmla="*/ 175 w 184"/>
                  <a:gd name="T17" fmla="*/ 0 h 344"/>
                  <a:gd name="T18" fmla="*/ 120 w 184"/>
                  <a:gd name="T19" fmla="*/ 317 h 344"/>
                  <a:gd name="T20" fmla="*/ 117 w 184"/>
                  <a:gd name="T21" fmla="*/ 320 h 344"/>
                  <a:gd name="T22" fmla="*/ 71 w 184"/>
                  <a:gd name="T23" fmla="*/ 320 h 344"/>
                  <a:gd name="T24" fmla="*/ 68 w 184"/>
                  <a:gd name="T25" fmla="*/ 317 h 344"/>
                  <a:gd name="T26" fmla="*/ 68 w 184"/>
                  <a:gd name="T27" fmla="*/ 315 h 344"/>
                  <a:gd name="T28" fmla="*/ 71 w 184"/>
                  <a:gd name="T29" fmla="*/ 312 h 344"/>
                  <a:gd name="T30" fmla="*/ 117 w 184"/>
                  <a:gd name="T31" fmla="*/ 312 h 344"/>
                  <a:gd name="T32" fmla="*/ 120 w 184"/>
                  <a:gd name="T33" fmla="*/ 315 h 344"/>
                  <a:gd name="T34" fmla="*/ 120 w 184"/>
                  <a:gd name="T35" fmla="*/ 317 h 344"/>
                  <a:gd name="T36" fmla="*/ 168 w 184"/>
                  <a:gd name="T37" fmla="*/ 296 h 344"/>
                  <a:gd name="T38" fmla="*/ 16 w 184"/>
                  <a:gd name="T39" fmla="*/ 296 h 344"/>
                  <a:gd name="T40" fmla="*/ 16 w 184"/>
                  <a:gd name="T41" fmla="*/ 40 h 344"/>
                  <a:gd name="T42" fmla="*/ 168 w 184"/>
                  <a:gd name="T43" fmla="*/ 40 h 344"/>
                  <a:gd name="T44" fmla="*/ 168 w 184"/>
                  <a:gd name="T45" fmla="*/ 296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344">
                    <a:moveTo>
                      <a:pt x="175" y="0"/>
                    </a:moveTo>
                    <a:cubicBezTo>
                      <a:pt x="175" y="0"/>
                      <a:pt x="175" y="0"/>
                      <a:pt x="8" y="0"/>
                    </a:cubicBezTo>
                    <a:cubicBezTo>
                      <a:pt x="3" y="0"/>
                      <a:pt x="0" y="1"/>
                      <a:pt x="0" y="6"/>
                    </a:cubicBezTo>
                    <a:cubicBezTo>
                      <a:pt x="0" y="335"/>
                      <a:pt x="0" y="335"/>
                      <a:pt x="0" y="335"/>
                    </a:cubicBezTo>
                    <a:cubicBezTo>
                      <a:pt x="0" y="339"/>
                      <a:pt x="3" y="344"/>
                      <a:pt x="8" y="344"/>
                    </a:cubicBezTo>
                    <a:cubicBezTo>
                      <a:pt x="8" y="344"/>
                      <a:pt x="8" y="344"/>
                      <a:pt x="175" y="344"/>
                    </a:cubicBezTo>
                    <a:cubicBezTo>
                      <a:pt x="179" y="344"/>
                      <a:pt x="184" y="339"/>
                      <a:pt x="184" y="335"/>
                    </a:cubicBezTo>
                    <a:cubicBezTo>
                      <a:pt x="184" y="6"/>
                      <a:pt x="184" y="6"/>
                      <a:pt x="184" y="6"/>
                    </a:cubicBezTo>
                    <a:cubicBezTo>
                      <a:pt x="184" y="1"/>
                      <a:pt x="179" y="0"/>
                      <a:pt x="175" y="0"/>
                    </a:cubicBezTo>
                    <a:close/>
                    <a:moveTo>
                      <a:pt x="120" y="317"/>
                    </a:moveTo>
                    <a:cubicBezTo>
                      <a:pt x="120" y="319"/>
                      <a:pt x="119" y="320"/>
                      <a:pt x="117" y="320"/>
                    </a:cubicBezTo>
                    <a:cubicBezTo>
                      <a:pt x="71" y="320"/>
                      <a:pt x="71" y="320"/>
                      <a:pt x="71" y="320"/>
                    </a:cubicBezTo>
                    <a:cubicBezTo>
                      <a:pt x="69" y="320"/>
                      <a:pt x="68" y="319"/>
                      <a:pt x="68" y="317"/>
                    </a:cubicBezTo>
                    <a:cubicBezTo>
                      <a:pt x="68" y="315"/>
                      <a:pt x="68" y="315"/>
                      <a:pt x="68" y="315"/>
                    </a:cubicBezTo>
                    <a:cubicBezTo>
                      <a:pt x="68" y="313"/>
                      <a:pt x="69" y="312"/>
                      <a:pt x="71" y="312"/>
                    </a:cubicBezTo>
                    <a:cubicBezTo>
                      <a:pt x="117" y="312"/>
                      <a:pt x="117" y="312"/>
                      <a:pt x="117" y="312"/>
                    </a:cubicBezTo>
                    <a:cubicBezTo>
                      <a:pt x="119" y="312"/>
                      <a:pt x="120" y="313"/>
                      <a:pt x="120" y="315"/>
                    </a:cubicBezTo>
                    <a:lnTo>
                      <a:pt x="120" y="317"/>
                    </a:lnTo>
                    <a:close/>
                    <a:moveTo>
                      <a:pt x="168" y="296"/>
                    </a:moveTo>
                    <a:cubicBezTo>
                      <a:pt x="16" y="296"/>
                      <a:pt x="16" y="296"/>
                      <a:pt x="16" y="296"/>
                    </a:cubicBezTo>
                    <a:cubicBezTo>
                      <a:pt x="16" y="40"/>
                      <a:pt x="16" y="40"/>
                      <a:pt x="16" y="40"/>
                    </a:cubicBezTo>
                    <a:cubicBezTo>
                      <a:pt x="168" y="40"/>
                      <a:pt x="168" y="40"/>
                      <a:pt x="168" y="40"/>
                    </a:cubicBezTo>
                    <a:lnTo>
                      <a:pt x="168" y="296"/>
                    </a:lnTo>
                    <a:close/>
                  </a:path>
                </a:pathLst>
              </a:custGeom>
              <a:grpFill/>
              <a:ln>
                <a:noFill/>
              </a:ln>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grpSp>
            <p:nvGrpSpPr>
              <p:cNvPr id="279" name="Group 135"/>
              <p:cNvGrpSpPr>
                <a:grpSpLocks noChangeAspect="1"/>
              </p:cNvGrpSpPr>
              <p:nvPr/>
            </p:nvGrpSpPr>
            <p:grpSpPr bwMode="auto">
              <a:xfrm>
                <a:off x="6903487" y="4029129"/>
                <a:ext cx="186219" cy="329223"/>
                <a:chOff x="3828" y="2131"/>
                <a:chExt cx="237" cy="419"/>
              </a:xfrm>
              <a:grpFill/>
            </p:grpSpPr>
            <p:sp>
              <p:nvSpPr>
                <p:cNvPr id="280"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81"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82"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83"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grpSp>
        </p:grpSp>
        <p:grpSp>
          <p:nvGrpSpPr>
            <p:cNvPr id="254" name="Group 253"/>
            <p:cNvGrpSpPr>
              <a:grpSpLocks noChangeAspect="1"/>
            </p:cNvGrpSpPr>
            <p:nvPr/>
          </p:nvGrpSpPr>
          <p:grpSpPr>
            <a:xfrm>
              <a:off x="10816360" y="5282047"/>
              <a:ext cx="1019286" cy="654425"/>
              <a:chOff x="6305726" y="4539633"/>
              <a:chExt cx="1874960" cy="1203802"/>
            </a:xfrm>
            <a:solidFill>
              <a:schemeClr val="tx1"/>
            </a:solidFill>
          </p:grpSpPr>
          <p:sp>
            <p:nvSpPr>
              <p:cNvPr id="276" name="Freeform 275"/>
              <p:cNvSpPr>
                <a:spLocks noChangeAspect="1"/>
              </p:cNvSpPr>
              <p:nvPr/>
            </p:nvSpPr>
            <p:spPr bwMode="black">
              <a:xfrm flipH="1">
                <a:off x="6305726" y="4539633"/>
                <a:ext cx="1874960" cy="12038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91392" tIns="45697" rIns="91392" bIns="45697" numCol="1" anchor="t" anchorCtr="0" compatLnSpc="1">
                <a:prstTxWarp prst="textNoShape">
                  <a:avLst/>
                </a:prstTxWarp>
                <a:noAutofit/>
              </a:bodyPr>
              <a:lstStyle/>
              <a:p>
                <a:pPr defTabSz="932198">
                  <a:defRPr/>
                </a:pPr>
                <a:endParaRPr lang="en-US" sz="408" b="1">
                  <a:solidFill>
                    <a:srgbClr val="0064B7"/>
                  </a:solidFill>
                  <a:latin typeface="Segoe UI"/>
                </a:endParaRPr>
              </a:p>
            </p:txBody>
          </p:sp>
          <p:grpSp>
            <p:nvGrpSpPr>
              <p:cNvPr id="268" name="Group 267"/>
              <p:cNvGrpSpPr/>
              <p:nvPr/>
            </p:nvGrpSpPr>
            <p:grpSpPr>
              <a:xfrm>
                <a:off x="6607392" y="4719375"/>
                <a:ext cx="1166552" cy="678470"/>
                <a:chOff x="6579394" y="4719375"/>
                <a:chExt cx="1166552" cy="678470"/>
              </a:xfrm>
              <a:grpFill/>
            </p:grpSpPr>
            <p:sp>
              <p:nvSpPr>
                <p:cNvPr id="269" name="Rectangle 143"/>
                <p:cNvSpPr>
                  <a:spLocks noChangeArrowheads="1"/>
                </p:cNvSpPr>
                <p:nvPr/>
              </p:nvSpPr>
              <p:spPr bwMode="auto">
                <a:xfrm>
                  <a:off x="6579394" y="5167114"/>
                  <a:ext cx="85774" cy="19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70" name="Rectangle 144"/>
                <p:cNvSpPr>
                  <a:spLocks noChangeArrowheads="1"/>
                </p:cNvSpPr>
                <p:nvPr/>
              </p:nvSpPr>
              <p:spPr bwMode="auto">
                <a:xfrm>
                  <a:off x="6682970" y="4910150"/>
                  <a:ext cx="85774" cy="4477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71" name="Rectangle 145"/>
                <p:cNvSpPr>
                  <a:spLocks noChangeArrowheads="1"/>
                </p:cNvSpPr>
                <p:nvPr/>
              </p:nvSpPr>
              <p:spPr bwMode="auto">
                <a:xfrm>
                  <a:off x="6789769" y="5135970"/>
                  <a:ext cx="85774" cy="2219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72" name="Rectangle 146"/>
                <p:cNvSpPr>
                  <a:spLocks noChangeArrowheads="1"/>
                </p:cNvSpPr>
                <p:nvPr/>
              </p:nvSpPr>
              <p:spPr bwMode="auto">
                <a:xfrm>
                  <a:off x="6904119" y="4910152"/>
                  <a:ext cx="85774" cy="447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73" name="Rectangle 147"/>
                <p:cNvSpPr>
                  <a:spLocks noChangeArrowheads="1"/>
                </p:cNvSpPr>
                <p:nvPr/>
              </p:nvSpPr>
              <p:spPr bwMode="auto">
                <a:xfrm>
                  <a:off x="7018472" y="4719375"/>
                  <a:ext cx="85774" cy="6385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74" name="Freeform 273"/>
                <p:cNvSpPr>
                  <a:spLocks noChangeAspect="1"/>
                </p:cNvSpPr>
                <p:nvPr/>
              </p:nvSpPr>
              <p:spPr bwMode="black">
                <a:xfrm>
                  <a:off x="7177419" y="4829167"/>
                  <a:ext cx="568527" cy="568678"/>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3" tIns="146226" rIns="182783" bIns="146226" numCol="1" spcCol="0" rtlCol="0" fromWordArt="0" anchor="t" anchorCtr="0" forceAA="0" compatLnSpc="1">
                  <a:prstTxWarp prst="textNoShape">
                    <a:avLst/>
                  </a:prstTxWarp>
                  <a:noAutofit/>
                </a:bodyPr>
                <a:lstStyle/>
                <a:p>
                  <a:pPr algn="ctr" defTabSz="931928" fontAlgn="base">
                    <a:lnSpc>
                      <a:spcPct val="90000"/>
                    </a:lnSpc>
                    <a:spcBef>
                      <a:spcPct val="0"/>
                    </a:spcBef>
                    <a:spcAft>
                      <a:spcPct val="0"/>
                    </a:spcAft>
                    <a:defRPr/>
                  </a:pPr>
                  <a:endParaRPr lang="en-US" sz="408" b="1">
                    <a:solidFill>
                      <a:srgbClr val="0064B7"/>
                    </a:solidFill>
                    <a:latin typeface="Segoe UI"/>
                    <a:ea typeface="Segoe UI" pitchFamily="34" charset="0"/>
                    <a:cs typeface="Segoe UI" pitchFamily="34" charset="0"/>
                  </a:endParaRPr>
                </a:p>
              </p:txBody>
            </p:sp>
          </p:grpSp>
        </p:grpSp>
        <p:grpSp>
          <p:nvGrpSpPr>
            <p:cNvPr id="255" name="Group 254"/>
            <p:cNvGrpSpPr>
              <a:grpSpLocks noChangeAspect="1"/>
            </p:cNvGrpSpPr>
            <p:nvPr/>
          </p:nvGrpSpPr>
          <p:grpSpPr>
            <a:xfrm>
              <a:off x="10993268" y="4519173"/>
              <a:ext cx="665471" cy="468603"/>
              <a:chOff x="7278615" y="2062893"/>
              <a:chExt cx="698651" cy="491967"/>
            </a:xfrm>
            <a:solidFill>
              <a:schemeClr val="tx1"/>
            </a:solidFill>
          </p:grpSpPr>
          <p:grpSp>
            <p:nvGrpSpPr>
              <p:cNvPr id="256" name="Group 255"/>
              <p:cNvGrpSpPr/>
              <p:nvPr/>
            </p:nvGrpSpPr>
            <p:grpSpPr>
              <a:xfrm>
                <a:off x="7278615" y="2062893"/>
                <a:ext cx="698651" cy="491967"/>
                <a:chOff x="6017603" y="3045006"/>
                <a:chExt cx="698651" cy="491967"/>
              </a:xfrm>
              <a:grpFill/>
            </p:grpSpPr>
            <p:sp>
              <p:nvSpPr>
                <p:cNvPr id="266" name="Freeform 132"/>
                <p:cNvSpPr>
                  <a:spLocks noEditPoints="1"/>
                </p:cNvSpPr>
                <p:nvPr/>
              </p:nvSpPr>
              <p:spPr bwMode="auto">
                <a:xfrm>
                  <a:off x="6017603" y="3045006"/>
                  <a:ext cx="698651" cy="491967"/>
                </a:xfrm>
                <a:custGeom>
                  <a:avLst/>
                  <a:gdLst>
                    <a:gd name="T0" fmla="*/ 288 w 302"/>
                    <a:gd name="T1" fmla="*/ 0 h 211"/>
                    <a:gd name="T2" fmla="*/ 15 w 302"/>
                    <a:gd name="T3" fmla="*/ 0 h 211"/>
                    <a:gd name="T4" fmla="*/ 0 w 302"/>
                    <a:gd name="T5" fmla="*/ 15 h 211"/>
                    <a:gd name="T6" fmla="*/ 0 w 302"/>
                    <a:gd name="T7" fmla="*/ 197 h 211"/>
                    <a:gd name="T8" fmla="*/ 15 w 302"/>
                    <a:gd name="T9" fmla="*/ 211 h 211"/>
                    <a:gd name="T10" fmla="*/ 288 w 302"/>
                    <a:gd name="T11" fmla="*/ 211 h 211"/>
                    <a:gd name="T12" fmla="*/ 302 w 302"/>
                    <a:gd name="T13" fmla="*/ 197 h 211"/>
                    <a:gd name="T14" fmla="*/ 302 w 302"/>
                    <a:gd name="T15" fmla="*/ 15 h 211"/>
                    <a:gd name="T16" fmla="*/ 288 w 302"/>
                    <a:gd name="T17" fmla="*/ 0 h 211"/>
                    <a:gd name="T18" fmla="*/ 286 w 302"/>
                    <a:gd name="T19" fmla="*/ 188 h 211"/>
                    <a:gd name="T20" fmla="*/ 17 w 302"/>
                    <a:gd name="T21" fmla="*/ 188 h 211"/>
                    <a:gd name="T22" fmla="*/ 17 w 302"/>
                    <a:gd name="T23" fmla="*/ 17 h 211"/>
                    <a:gd name="T24" fmla="*/ 286 w 302"/>
                    <a:gd name="T25" fmla="*/ 17 h 211"/>
                    <a:gd name="T26" fmla="*/ 286 w 302"/>
                    <a:gd name="T27" fmla="*/ 188 h 211"/>
                    <a:gd name="T28" fmla="*/ 286 w 302"/>
                    <a:gd name="T29" fmla="*/ 188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2" h="211">
                      <a:moveTo>
                        <a:pt x="288" y="0"/>
                      </a:moveTo>
                      <a:cubicBezTo>
                        <a:pt x="15" y="0"/>
                        <a:pt x="15" y="0"/>
                        <a:pt x="15" y="0"/>
                      </a:cubicBezTo>
                      <a:cubicBezTo>
                        <a:pt x="7" y="0"/>
                        <a:pt x="0" y="7"/>
                        <a:pt x="0" y="15"/>
                      </a:cubicBezTo>
                      <a:cubicBezTo>
                        <a:pt x="0" y="197"/>
                        <a:pt x="0" y="197"/>
                        <a:pt x="0" y="197"/>
                      </a:cubicBezTo>
                      <a:cubicBezTo>
                        <a:pt x="0" y="205"/>
                        <a:pt x="7" y="211"/>
                        <a:pt x="15" y="211"/>
                      </a:cubicBezTo>
                      <a:cubicBezTo>
                        <a:pt x="288" y="211"/>
                        <a:pt x="288" y="211"/>
                        <a:pt x="288" y="211"/>
                      </a:cubicBezTo>
                      <a:cubicBezTo>
                        <a:pt x="296" y="211"/>
                        <a:pt x="302" y="205"/>
                        <a:pt x="302" y="197"/>
                      </a:cubicBezTo>
                      <a:cubicBezTo>
                        <a:pt x="302" y="15"/>
                        <a:pt x="302" y="15"/>
                        <a:pt x="302" y="15"/>
                      </a:cubicBezTo>
                      <a:cubicBezTo>
                        <a:pt x="302" y="7"/>
                        <a:pt x="296" y="0"/>
                        <a:pt x="288" y="0"/>
                      </a:cubicBezTo>
                      <a:close/>
                      <a:moveTo>
                        <a:pt x="286" y="188"/>
                      </a:moveTo>
                      <a:cubicBezTo>
                        <a:pt x="17" y="188"/>
                        <a:pt x="17" y="188"/>
                        <a:pt x="17" y="188"/>
                      </a:cubicBezTo>
                      <a:cubicBezTo>
                        <a:pt x="17" y="17"/>
                        <a:pt x="17" y="17"/>
                        <a:pt x="17" y="17"/>
                      </a:cubicBezTo>
                      <a:cubicBezTo>
                        <a:pt x="286" y="17"/>
                        <a:pt x="286" y="17"/>
                        <a:pt x="286" y="17"/>
                      </a:cubicBezTo>
                      <a:cubicBezTo>
                        <a:pt x="286" y="188"/>
                        <a:pt x="286" y="188"/>
                        <a:pt x="286" y="188"/>
                      </a:cubicBezTo>
                      <a:cubicBezTo>
                        <a:pt x="286" y="188"/>
                        <a:pt x="286" y="188"/>
                        <a:pt x="286"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grpSp>
              <p:nvGrpSpPr>
                <p:cNvPr id="259" name="Group 142"/>
                <p:cNvGrpSpPr>
                  <a:grpSpLocks noChangeAspect="1"/>
                </p:cNvGrpSpPr>
                <p:nvPr/>
              </p:nvGrpSpPr>
              <p:grpSpPr bwMode="auto">
                <a:xfrm>
                  <a:off x="6127767" y="3149600"/>
                  <a:ext cx="179388" cy="260350"/>
                  <a:chOff x="3860" y="1984"/>
                  <a:chExt cx="113" cy="164"/>
                </a:xfrm>
                <a:grpFill/>
              </p:grpSpPr>
              <p:sp>
                <p:nvSpPr>
                  <p:cNvPr id="260" name="Rectangle 143"/>
                  <p:cNvSpPr>
                    <a:spLocks noChangeArrowheads="1"/>
                  </p:cNvSpPr>
                  <p:nvPr/>
                </p:nvSpPr>
                <p:spPr bwMode="auto">
                  <a:xfrm>
                    <a:off x="3860" y="2099"/>
                    <a:ext cx="16" cy="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61" name="Rectangle 144"/>
                  <p:cNvSpPr>
                    <a:spLocks noChangeArrowheads="1"/>
                  </p:cNvSpPr>
                  <p:nvPr/>
                </p:nvSpPr>
                <p:spPr bwMode="auto">
                  <a:xfrm>
                    <a:off x="3884" y="2033"/>
                    <a:ext cx="16" cy="1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62" name="Rectangle 145"/>
                  <p:cNvSpPr>
                    <a:spLocks noChangeArrowheads="1"/>
                  </p:cNvSpPr>
                  <p:nvPr/>
                </p:nvSpPr>
                <p:spPr bwMode="auto">
                  <a:xfrm>
                    <a:off x="3908" y="2091"/>
                    <a:ext cx="16" cy="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63" name="Rectangle 146"/>
                  <p:cNvSpPr>
                    <a:spLocks noChangeArrowheads="1"/>
                  </p:cNvSpPr>
                  <p:nvPr/>
                </p:nvSpPr>
                <p:spPr bwMode="auto">
                  <a:xfrm>
                    <a:off x="3932" y="2033"/>
                    <a:ext cx="17" cy="1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64" name="Rectangle 147"/>
                  <p:cNvSpPr>
                    <a:spLocks noChangeArrowheads="1"/>
                  </p:cNvSpPr>
                  <p:nvPr/>
                </p:nvSpPr>
                <p:spPr bwMode="auto">
                  <a:xfrm>
                    <a:off x="3957" y="1984"/>
                    <a:ext cx="16"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grpSp>
          </p:grpSp>
          <p:sp>
            <p:nvSpPr>
              <p:cNvPr id="257" name="Freeform 256"/>
              <p:cNvSpPr>
                <a:spLocks noChangeAspect="1"/>
              </p:cNvSpPr>
              <p:nvPr/>
            </p:nvSpPr>
            <p:spPr bwMode="black">
              <a:xfrm>
                <a:off x="7630646" y="2182547"/>
                <a:ext cx="241931" cy="2419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3" tIns="146226" rIns="182783" bIns="146226" numCol="1" spcCol="0" rtlCol="0" fromWordArt="0" anchor="t" anchorCtr="0" forceAA="0" compatLnSpc="1">
                <a:prstTxWarp prst="textNoShape">
                  <a:avLst/>
                </a:prstTxWarp>
                <a:noAutofit/>
              </a:bodyPr>
              <a:lstStyle/>
              <a:p>
                <a:pPr algn="ctr" defTabSz="931928" fontAlgn="base">
                  <a:lnSpc>
                    <a:spcPct val="90000"/>
                  </a:lnSpc>
                  <a:spcBef>
                    <a:spcPct val="0"/>
                  </a:spcBef>
                  <a:spcAft>
                    <a:spcPct val="0"/>
                  </a:spcAft>
                  <a:defRPr/>
                </a:pPr>
                <a:endParaRPr lang="en-US" sz="408" b="1">
                  <a:solidFill>
                    <a:srgbClr val="0064B7"/>
                  </a:solidFill>
                  <a:latin typeface="Segoe UI"/>
                  <a:ea typeface="Segoe UI" pitchFamily="34" charset="0"/>
                  <a:cs typeface="Segoe UI" pitchFamily="34" charset="0"/>
                </a:endParaRPr>
              </a:p>
            </p:txBody>
          </p:sp>
        </p:grpSp>
        <p:sp>
          <p:nvSpPr>
            <p:cNvPr id="224" name="Rectangle 223"/>
            <p:cNvSpPr/>
            <p:nvPr/>
          </p:nvSpPr>
          <p:spPr bwMode="auto">
            <a:xfrm>
              <a:off x="9139583" y="3545821"/>
              <a:ext cx="1271495" cy="1147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408" b="1" err="1">
                <a:solidFill>
                  <a:srgbClr val="0064B7"/>
                </a:solidFill>
                <a:latin typeface="Segoe UI"/>
                <a:ea typeface="Segoe UI" pitchFamily="34" charset="0"/>
                <a:cs typeface="Segoe UI" pitchFamily="34" charset="0"/>
              </a:endParaRPr>
            </a:p>
          </p:txBody>
        </p:sp>
        <p:cxnSp>
          <p:nvCxnSpPr>
            <p:cNvPr id="228" name="Straight Connector 227"/>
            <p:cNvCxnSpPr>
              <a:cxnSpLocks/>
            </p:cNvCxnSpPr>
            <p:nvPr/>
          </p:nvCxnSpPr>
          <p:spPr>
            <a:xfrm flipH="1">
              <a:off x="10259203" y="3280502"/>
              <a:ext cx="0" cy="2834640"/>
            </a:xfrm>
            <a:prstGeom prst="line">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bwMode="auto">
            <a:xfrm>
              <a:off x="6581156" y="3280503"/>
              <a:ext cx="955294" cy="2542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846" fontAlgn="base">
                <a:lnSpc>
                  <a:spcPct val="90000"/>
                </a:lnSpc>
                <a:spcBef>
                  <a:spcPct val="0"/>
                </a:spcBef>
                <a:spcAft>
                  <a:spcPct val="0"/>
                </a:spcAft>
                <a:defRPr/>
              </a:pPr>
              <a:r>
                <a:rPr lang="en-US" b="1">
                  <a:solidFill>
                    <a:srgbClr val="0064B7"/>
                  </a:solidFill>
                  <a:latin typeface="Segoe UI"/>
                  <a:ea typeface="Segoe UI" pitchFamily="34" charset="0"/>
                  <a:cs typeface="Segoe UI Semilight" panose="020B0402040204020203" pitchFamily="34" charset="0"/>
                </a:rPr>
                <a:t>Data</a:t>
              </a:r>
            </a:p>
          </p:txBody>
        </p:sp>
        <p:cxnSp>
          <p:nvCxnSpPr>
            <p:cNvPr id="221" name="Straight Connector 220"/>
            <p:cNvCxnSpPr>
              <a:cxnSpLocks/>
            </p:cNvCxnSpPr>
            <p:nvPr/>
          </p:nvCxnSpPr>
          <p:spPr>
            <a:xfrm>
              <a:off x="8125603" y="3280502"/>
              <a:ext cx="0" cy="2834640"/>
            </a:xfrm>
            <a:prstGeom prst="line">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40" name="Freeform 13"/>
            <p:cNvSpPr>
              <a:spLocks noChangeAspect="1" noEditPoints="1"/>
            </p:cNvSpPr>
            <p:nvPr/>
          </p:nvSpPr>
          <p:spPr bwMode="auto">
            <a:xfrm>
              <a:off x="6732351" y="3721048"/>
              <a:ext cx="652905" cy="45217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97">
                <a:defRPr/>
              </a:pPr>
              <a:endParaRPr lang="en-US" b="1">
                <a:solidFill>
                  <a:srgbClr val="0064B7"/>
                </a:solidFill>
                <a:latin typeface="Segoe UI"/>
              </a:endParaRPr>
            </a:p>
          </p:txBody>
        </p:sp>
        <p:grpSp>
          <p:nvGrpSpPr>
            <p:cNvPr id="236" name="Group 235"/>
            <p:cNvGrpSpPr/>
            <p:nvPr/>
          </p:nvGrpSpPr>
          <p:grpSpPr>
            <a:xfrm>
              <a:off x="8318547" y="3721048"/>
              <a:ext cx="731836" cy="699043"/>
              <a:chOff x="5422901" y="2304669"/>
              <a:chExt cx="1346199" cy="1285875"/>
            </a:xfrm>
          </p:grpSpPr>
          <p:grpSp>
            <p:nvGrpSpPr>
              <p:cNvPr id="237" name="Group 102"/>
              <p:cNvGrpSpPr>
                <a:grpSpLocks noChangeAspect="1"/>
              </p:cNvGrpSpPr>
              <p:nvPr/>
            </p:nvGrpSpPr>
            <p:grpSpPr bwMode="auto">
              <a:xfrm>
                <a:off x="5422901" y="2304669"/>
                <a:ext cx="1346199" cy="1285875"/>
                <a:chOff x="1817" y="2046"/>
                <a:chExt cx="848" cy="810"/>
              </a:xfrm>
            </p:grpSpPr>
            <p:sp>
              <p:nvSpPr>
                <p:cNvPr id="239" name="Rectangle 103"/>
                <p:cNvSpPr>
                  <a:spLocks noChangeArrowheads="1"/>
                </p:cNvSpPr>
                <p:nvPr/>
              </p:nvSpPr>
              <p:spPr bwMode="auto">
                <a:xfrm>
                  <a:off x="1868" y="2086"/>
                  <a:ext cx="758" cy="84"/>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0" name="Rectangle 104"/>
                <p:cNvSpPr>
                  <a:spLocks noChangeArrowheads="1"/>
                </p:cNvSpPr>
                <p:nvPr/>
              </p:nvSpPr>
              <p:spPr bwMode="auto">
                <a:xfrm>
                  <a:off x="1868" y="2170"/>
                  <a:ext cx="758" cy="47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1" name="Freeform 105"/>
                <p:cNvSpPr>
                  <a:spLocks noEditPoints="1"/>
                </p:cNvSpPr>
                <p:nvPr/>
              </p:nvSpPr>
              <p:spPr bwMode="auto">
                <a:xfrm>
                  <a:off x="1817" y="2046"/>
                  <a:ext cx="848" cy="810"/>
                </a:xfrm>
                <a:custGeom>
                  <a:avLst/>
                  <a:gdLst>
                    <a:gd name="T0" fmla="*/ 553 w 604"/>
                    <a:gd name="T1" fmla="*/ 0 h 576"/>
                    <a:gd name="T2" fmla="*/ 50 w 604"/>
                    <a:gd name="T3" fmla="*/ 0 h 576"/>
                    <a:gd name="T4" fmla="*/ 0 w 604"/>
                    <a:gd name="T5" fmla="*/ 52 h 576"/>
                    <a:gd name="T6" fmla="*/ 0 w 604"/>
                    <a:gd name="T7" fmla="*/ 402 h 576"/>
                    <a:gd name="T8" fmla="*/ 50 w 604"/>
                    <a:gd name="T9" fmla="*/ 450 h 576"/>
                    <a:gd name="T10" fmla="*/ 213 w 604"/>
                    <a:gd name="T11" fmla="*/ 450 h 576"/>
                    <a:gd name="T12" fmla="*/ 176 w 604"/>
                    <a:gd name="T13" fmla="*/ 540 h 576"/>
                    <a:gd name="T14" fmla="*/ 99 w 604"/>
                    <a:gd name="T15" fmla="*/ 540 h 576"/>
                    <a:gd name="T16" fmla="*/ 99 w 604"/>
                    <a:gd name="T17" fmla="*/ 576 h 576"/>
                    <a:gd name="T18" fmla="*/ 297 w 604"/>
                    <a:gd name="T19" fmla="*/ 576 h 576"/>
                    <a:gd name="T20" fmla="*/ 495 w 604"/>
                    <a:gd name="T21" fmla="*/ 576 h 576"/>
                    <a:gd name="T22" fmla="*/ 495 w 604"/>
                    <a:gd name="T23" fmla="*/ 540 h 576"/>
                    <a:gd name="T24" fmla="*/ 421 w 604"/>
                    <a:gd name="T25" fmla="*/ 540 h 576"/>
                    <a:gd name="T26" fmla="*/ 382 w 604"/>
                    <a:gd name="T27" fmla="*/ 450 h 576"/>
                    <a:gd name="T28" fmla="*/ 553 w 604"/>
                    <a:gd name="T29" fmla="*/ 450 h 576"/>
                    <a:gd name="T30" fmla="*/ 604 w 604"/>
                    <a:gd name="T31" fmla="*/ 402 h 576"/>
                    <a:gd name="T32" fmla="*/ 604 w 604"/>
                    <a:gd name="T33" fmla="*/ 52 h 576"/>
                    <a:gd name="T34" fmla="*/ 553 w 604"/>
                    <a:gd name="T35" fmla="*/ 0 h 576"/>
                    <a:gd name="T36" fmla="*/ 567 w 604"/>
                    <a:gd name="T37" fmla="*/ 399 h 576"/>
                    <a:gd name="T38" fmla="*/ 553 w 604"/>
                    <a:gd name="T39" fmla="*/ 414 h 576"/>
                    <a:gd name="T40" fmla="*/ 50 w 604"/>
                    <a:gd name="T41" fmla="*/ 414 h 576"/>
                    <a:gd name="T42" fmla="*/ 36 w 604"/>
                    <a:gd name="T43" fmla="*/ 399 h 576"/>
                    <a:gd name="T44" fmla="*/ 36 w 604"/>
                    <a:gd name="T45" fmla="*/ 50 h 576"/>
                    <a:gd name="T46" fmla="*/ 50 w 604"/>
                    <a:gd name="T47" fmla="*/ 36 h 576"/>
                    <a:gd name="T48" fmla="*/ 553 w 604"/>
                    <a:gd name="T49" fmla="*/ 36 h 576"/>
                    <a:gd name="T50" fmla="*/ 567 w 604"/>
                    <a:gd name="T51" fmla="*/ 50 h 576"/>
                    <a:gd name="T52" fmla="*/ 567 w 604"/>
                    <a:gd name="T53" fmla="*/ 39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4" h="576">
                      <a:moveTo>
                        <a:pt x="553" y="0"/>
                      </a:moveTo>
                      <a:cubicBezTo>
                        <a:pt x="50" y="0"/>
                        <a:pt x="50" y="0"/>
                        <a:pt x="50" y="0"/>
                      </a:cubicBezTo>
                      <a:cubicBezTo>
                        <a:pt x="23" y="0"/>
                        <a:pt x="0" y="24"/>
                        <a:pt x="0" y="52"/>
                      </a:cubicBezTo>
                      <a:cubicBezTo>
                        <a:pt x="0" y="402"/>
                        <a:pt x="0" y="402"/>
                        <a:pt x="0" y="402"/>
                      </a:cubicBezTo>
                      <a:cubicBezTo>
                        <a:pt x="0" y="430"/>
                        <a:pt x="23" y="450"/>
                        <a:pt x="50" y="450"/>
                      </a:cubicBezTo>
                      <a:cubicBezTo>
                        <a:pt x="213" y="450"/>
                        <a:pt x="213" y="450"/>
                        <a:pt x="213" y="450"/>
                      </a:cubicBezTo>
                      <a:cubicBezTo>
                        <a:pt x="219" y="468"/>
                        <a:pt x="245" y="540"/>
                        <a:pt x="176" y="540"/>
                      </a:cubicBezTo>
                      <a:cubicBezTo>
                        <a:pt x="99" y="540"/>
                        <a:pt x="99" y="540"/>
                        <a:pt x="99" y="540"/>
                      </a:cubicBezTo>
                      <a:cubicBezTo>
                        <a:pt x="99" y="576"/>
                        <a:pt x="99" y="576"/>
                        <a:pt x="99" y="576"/>
                      </a:cubicBezTo>
                      <a:cubicBezTo>
                        <a:pt x="297" y="576"/>
                        <a:pt x="297" y="576"/>
                        <a:pt x="297" y="576"/>
                      </a:cubicBezTo>
                      <a:cubicBezTo>
                        <a:pt x="495" y="576"/>
                        <a:pt x="495" y="576"/>
                        <a:pt x="495" y="576"/>
                      </a:cubicBezTo>
                      <a:cubicBezTo>
                        <a:pt x="495" y="540"/>
                        <a:pt x="495" y="540"/>
                        <a:pt x="495" y="540"/>
                      </a:cubicBezTo>
                      <a:cubicBezTo>
                        <a:pt x="495" y="540"/>
                        <a:pt x="492" y="540"/>
                        <a:pt x="421" y="540"/>
                      </a:cubicBezTo>
                      <a:cubicBezTo>
                        <a:pt x="350" y="540"/>
                        <a:pt x="377" y="468"/>
                        <a:pt x="382" y="450"/>
                      </a:cubicBezTo>
                      <a:cubicBezTo>
                        <a:pt x="553" y="450"/>
                        <a:pt x="553" y="450"/>
                        <a:pt x="553" y="450"/>
                      </a:cubicBezTo>
                      <a:cubicBezTo>
                        <a:pt x="581" y="450"/>
                        <a:pt x="604" y="430"/>
                        <a:pt x="604" y="402"/>
                      </a:cubicBezTo>
                      <a:cubicBezTo>
                        <a:pt x="604" y="52"/>
                        <a:pt x="604" y="52"/>
                        <a:pt x="604" y="52"/>
                      </a:cubicBezTo>
                      <a:cubicBezTo>
                        <a:pt x="604" y="24"/>
                        <a:pt x="581" y="0"/>
                        <a:pt x="553" y="0"/>
                      </a:cubicBezTo>
                      <a:close/>
                      <a:moveTo>
                        <a:pt x="567" y="399"/>
                      </a:moveTo>
                      <a:cubicBezTo>
                        <a:pt x="567" y="407"/>
                        <a:pt x="561" y="414"/>
                        <a:pt x="553" y="414"/>
                      </a:cubicBezTo>
                      <a:cubicBezTo>
                        <a:pt x="50" y="414"/>
                        <a:pt x="50" y="414"/>
                        <a:pt x="50" y="414"/>
                      </a:cubicBezTo>
                      <a:cubicBezTo>
                        <a:pt x="42" y="414"/>
                        <a:pt x="36" y="407"/>
                        <a:pt x="36" y="399"/>
                      </a:cubicBezTo>
                      <a:cubicBezTo>
                        <a:pt x="36" y="50"/>
                        <a:pt x="36" y="50"/>
                        <a:pt x="36" y="50"/>
                      </a:cubicBezTo>
                      <a:cubicBezTo>
                        <a:pt x="36" y="42"/>
                        <a:pt x="42" y="36"/>
                        <a:pt x="50" y="36"/>
                      </a:cubicBezTo>
                      <a:cubicBezTo>
                        <a:pt x="553" y="36"/>
                        <a:pt x="553" y="36"/>
                        <a:pt x="553" y="36"/>
                      </a:cubicBezTo>
                      <a:cubicBezTo>
                        <a:pt x="561" y="36"/>
                        <a:pt x="567" y="42"/>
                        <a:pt x="567" y="50"/>
                      </a:cubicBezTo>
                      <a:lnTo>
                        <a:pt x="567" y="39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2" name="Oval 106"/>
                <p:cNvSpPr>
                  <a:spLocks noChangeArrowheads="1"/>
                </p:cNvSpPr>
                <p:nvPr/>
              </p:nvSpPr>
              <p:spPr bwMode="auto">
                <a:xfrm>
                  <a:off x="1884" y="2108"/>
                  <a:ext cx="52" cy="52"/>
                </a:xfrm>
                <a:prstGeom prst="ellipse">
                  <a:avLst/>
                </a:prstGeom>
                <a:solidFill>
                  <a:srgbClr val="006F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3" name="Rectangle 107"/>
                <p:cNvSpPr>
                  <a:spLocks noChangeArrowheads="1"/>
                </p:cNvSpPr>
                <p:nvPr/>
              </p:nvSpPr>
              <p:spPr bwMode="auto">
                <a:xfrm>
                  <a:off x="1957" y="2114"/>
                  <a:ext cx="568" cy="3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4" name="Freeform 108"/>
                <p:cNvSpPr>
                  <a:spLocks/>
                </p:cNvSpPr>
                <p:nvPr/>
              </p:nvSpPr>
              <p:spPr bwMode="auto">
                <a:xfrm>
                  <a:off x="2032" y="2238"/>
                  <a:ext cx="334" cy="73"/>
                </a:xfrm>
                <a:custGeom>
                  <a:avLst/>
                  <a:gdLst>
                    <a:gd name="T0" fmla="*/ 238 w 238"/>
                    <a:gd name="T1" fmla="*/ 26 h 52"/>
                    <a:gd name="T2" fmla="*/ 212 w 238"/>
                    <a:gd name="T3" fmla="*/ 52 h 52"/>
                    <a:gd name="T4" fmla="*/ 26 w 238"/>
                    <a:gd name="T5" fmla="*/ 52 h 52"/>
                    <a:gd name="T6" fmla="*/ 0 w 238"/>
                    <a:gd name="T7" fmla="*/ 26 h 52"/>
                    <a:gd name="T8" fmla="*/ 0 w 238"/>
                    <a:gd name="T9" fmla="*/ 26 h 52"/>
                    <a:gd name="T10" fmla="*/ 26 w 238"/>
                    <a:gd name="T11" fmla="*/ 0 h 52"/>
                    <a:gd name="T12" fmla="*/ 212 w 238"/>
                    <a:gd name="T13" fmla="*/ 0 h 52"/>
                    <a:gd name="T14" fmla="*/ 238 w 238"/>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8" h="52">
                      <a:moveTo>
                        <a:pt x="238" y="26"/>
                      </a:moveTo>
                      <a:cubicBezTo>
                        <a:pt x="238" y="41"/>
                        <a:pt x="226" y="52"/>
                        <a:pt x="212" y="52"/>
                      </a:cubicBezTo>
                      <a:cubicBezTo>
                        <a:pt x="26" y="52"/>
                        <a:pt x="26" y="52"/>
                        <a:pt x="26" y="52"/>
                      </a:cubicBezTo>
                      <a:cubicBezTo>
                        <a:pt x="12" y="52"/>
                        <a:pt x="0" y="41"/>
                        <a:pt x="0" y="26"/>
                      </a:cubicBezTo>
                      <a:cubicBezTo>
                        <a:pt x="0" y="26"/>
                        <a:pt x="0" y="26"/>
                        <a:pt x="0" y="26"/>
                      </a:cubicBezTo>
                      <a:cubicBezTo>
                        <a:pt x="0" y="11"/>
                        <a:pt x="12" y="0"/>
                        <a:pt x="26" y="0"/>
                      </a:cubicBezTo>
                      <a:cubicBezTo>
                        <a:pt x="212" y="0"/>
                        <a:pt x="212" y="0"/>
                        <a:pt x="212" y="0"/>
                      </a:cubicBezTo>
                      <a:cubicBezTo>
                        <a:pt x="226" y="0"/>
                        <a:pt x="238" y="11"/>
                        <a:pt x="238" y="2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5" name="Freeform 109"/>
                <p:cNvSpPr>
                  <a:spLocks/>
                </p:cNvSpPr>
                <p:nvPr/>
              </p:nvSpPr>
              <p:spPr bwMode="auto">
                <a:xfrm>
                  <a:off x="1929" y="2361"/>
                  <a:ext cx="203" cy="62"/>
                </a:xfrm>
                <a:custGeom>
                  <a:avLst/>
                  <a:gdLst>
                    <a:gd name="T0" fmla="*/ 144 w 144"/>
                    <a:gd name="T1" fmla="*/ 23 h 44"/>
                    <a:gd name="T2" fmla="*/ 123 w 144"/>
                    <a:gd name="T3" fmla="*/ 44 h 44"/>
                    <a:gd name="T4" fmla="*/ 21 w 144"/>
                    <a:gd name="T5" fmla="*/ 44 h 44"/>
                    <a:gd name="T6" fmla="*/ 0 w 144"/>
                    <a:gd name="T7" fmla="*/ 23 h 44"/>
                    <a:gd name="T8" fmla="*/ 0 w 144"/>
                    <a:gd name="T9" fmla="*/ 21 h 44"/>
                    <a:gd name="T10" fmla="*/ 21 w 144"/>
                    <a:gd name="T11" fmla="*/ 0 h 44"/>
                    <a:gd name="T12" fmla="*/ 123 w 144"/>
                    <a:gd name="T13" fmla="*/ 0 h 44"/>
                    <a:gd name="T14" fmla="*/ 144 w 144"/>
                    <a:gd name="T15" fmla="*/ 21 h 44"/>
                    <a:gd name="T16" fmla="*/ 144 w 144"/>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4">
                      <a:moveTo>
                        <a:pt x="144" y="23"/>
                      </a:moveTo>
                      <a:cubicBezTo>
                        <a:pt x="144" y="35"/>
                        <a:pt x="135" y="44"/>
                        <a:pt x="123" y="44"/>
                      </a:cubicBezTo>
                      <a:cubicBezTo>
                        <a:pt x="21" y="44"/>
                        <a:pt x="21" y="44"/>
                        <a:pt x="21" y="44"/>
                      </a:cubicBezTo>
                      <a:cubicBezTo>
                        <a:pt x="9" y="44"/>
                        <a:pt x="0" y="35"/>
                        <a:pt x="0" y="23"/>
                      </a:cubicBezTo>
                      <a:cubicBezTo>
                        <a:pt x="0" y="21"/>
                        <a:pt x="0" y="21"/>
                        <a:pt x="0" y="21"/>
                      </a:cubicBezTo>
                      <a:cubicBezTo>
                        <a:pt x="0" y="9"/>
                        <a:pt x="9" y="0"/>
                        <a:pt x="21" y="0"/>
                      </a:cubicBezTo>
                      <a:cubicBezTo>
                        <a:pt x="123" y="0"/>
                        <a:pt x="123" y="0"/>
                        <a:pt x="123" y="0"/>
                      </a:cubicBezTo>
                      <a:cubicBezTo>
                        <a:pt x="135" y="0"/>
                        <a:pt x="144" y="9"/>
                        <a:pt x="144" y="21"/>
                      </a:cubicBezTo>
                      <a:lnTo>
                        <a:pt x="144"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6" name="Freeform 110"/>
                <p:cNvSpPr>
                  <a:spLocks/>
                </p:cNvSpPr>
                <p:nvPr/>
              </p:nvSpPr>
              <p:spPr bwMode="auto">
                <a:xfrm>
                  <a:off x="2160" y="2361"/>
                  <a:ext cx="202" cy="62"/>
                </a:xfrm>
                <a:custGeom>
                  <a:avLst/>
                  <a:gdLst>
                    <a:gd name="T0" fmla="*/ 144 w 144"/>
                    <a:gd name="T1" fmla="*/ 23 h 44"/>
                    <a:gd name="T2" fmla="*/ 123 w 144"/>
                    <a:gd name="T3" fmla="*/ 44 h 44"/>
                    <a:gd name="T4" fmla="*/ 21 w 144"/>
                    <a:gd name="T5" fmla="*/ 44 h 44"/>
                    <a:gd name="T6" fmla="*/ 0 w 144"/>
                    <a:gd name="T7" fmla="*/ 23 h 44"/>
                    <a:gd name="T8" fmla="*/ 0 w 144"/>
                    <a:gd name="T9" fmla="*/ 21 h 44"/>
                    <a:gd name="T10" fmla="*/ 21 w 144"/>
                    <a:gd name="T11" fmla="*/ 0 h 44"/>
                    <a:gd name="T12" fmla="*/ 123 w 144"/>
                    <a:gd name="T13" fmla="*/ 0 h 44"/>
                    <a:gd name="T14" fmla="*/ 144 w 144"/>
                    <a:gd name="T15" fmla="*/ 21 h 44"/>
                    <a:gd name="T16" fmla="*/ 144 w 144"/>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4">
                      <a:moveTo>
                        <a:pt x="144" y="23"/>
                      </a:moveTo>
                      <a:cubicBezTo>
                        <a:pt x="144" y="35"/>
                        <a:pt x="135" y="44"/>
                        <a:pt x="123" y="44"/>
                      </a:cubicBezTo>
                      <a:cubicBezTo>
                        <a:pt x="21" y="44"/>
                        <a:pt x="21" y="44"/>
                        <a:pt x="21" y="44"/>
                      </a:cubicBezTo>
                      <a:cubicBezTo>
                        <a:pt x="9" y="44"/>
                        <a:pt x="0" y="35"/>
                        <a:pt x="0" y="23"/>
                      </a:cubicBezTo>
                      <a:cubicBezTo>
                        <a:pt x="0" y="21"/>
                        <a:pt x="0" y="21"/>
                        <a:pt x="0" y="21"/>
                      </a:cubicBezTo>
                      <a:cubicBezTo>
                        <a:pt x="0" y="9"/>
                        <a:pt x="9" y="0"/>
                        <a:pt x="21" y="0"/>
                      </a:cubicBezTo>
                      <a:cubicBezTo>
                        <a:pt x="123" y="0"/>
                        <a:pt x="123" y="0"/>
                        <a:pt x="123" y="0"/>
                      </a:cubicBezTo>
                      <a:cubicBezTo>
                        <a:pt x="135" y="0"/>
                        <a:pt x="144" y="9"/>
                        <a:pt x="144" y="21"/>
                      </a:cubicBezTo>
                      <a:lnTo>
                        <a:pt x="144"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7" name="Freeform 111"/>
                <p:cNvSpPr>
                  <a:spLocks/>
                </p:cNvSpPr>
                <p:nvPr/>
              </p:nvSpPr>
              <p:spPr bwMode="auto">
                <a:xfrm>
                  <a:off x="2351" y="2435"/>
                  <a:ext cx="202" cy="61"/>
                </a:xfrm>
                <a:custGeom>
                  <a:avLst/>
                  <a:gdLst>
                    <a:gd name="T0" fmla="*/ 144 w 144"/>
                    <a:gd name="T1" fmla="*/ 23 h 44"/>
                    <a:gd name="T2" fmla="*/ 123 w 144"/>
                    <a:gd name="T3" fmla="*/ 44 h 44"/>
                    <a:gd name="T4" fmla="*/ 21 w 144"/>
                    <a:gd name="T5" fmla="*/ 44 h 44"/>
                    <a:gd name="T6" fmla="*/ 0 w 144"/>
                    <a:gd name="T7" fmla="*/ 23 h 44"/>
                    <a:gd name="T8" fmla="*/ 0 w 144"/>
                    <a:gd name="T9" fmla="*/ 21 h 44"/>
                    <a:gd name="T10" fmla="*/ 21 w 144"/>
                    <a:gd name="T11" fmla="*/ 0 h 44"/>
                    <a:gd name="T12" fmla="*/ 123 w 144"/>
                    <a:gd name="T13" fmla="*/ 0 h 44"/>
                    <a:gd name="T14" fmla="*/ 144 w 144"/>
                    <a:gd name="T15" fmla="*/ 21 h 44"/>
                    <a:gd name="T16" fmla="*/ 144 w 144"/>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4">
                      <a:moveTo>
                        <a:pt x="144" y="23"/>
                      </a:moveTo>
                      <a:cubicBezTo>
                        <a:pt x="144" y="35"/>
                        <a:pt x="135" y="44"/>
                        <a:pt x="123" y="44"/>
                      </a:cubicBezTo>
                      <a:cubicBezTo>
                        <a:pt x="21" y="44"/>
                        <a:pt x="21" y="44"/>
                        <a:pt x="21" y="44"/>
                      </a:cubicBezTo>
                      <a:cubicBezTo>
                        <a:pt x="9" y="44"/>
                        <a:pt x="0" y="35"/>
                        <a:pt x="0" y="23"/>
                      </a:cubicBezTo>
                      <a:cubicBezTo>
                        <a:pt x="0" y="21"/>
                        <a:pt x="0" y="21"/>
                        <a:pt x="0" y="21"/>
                      </a:cubicBezTo>
                      <a:cubicBezTo>
                        <a:pt x="0" y="9"/>
                        <a:pt x="9" y="0"/>
                        <a:pt x="21" y="0"/>
                      </a:cubicBezTo>
                      <a:cubicBezTo>
                        <a:pt x="123" y="0"/>
                        <a:pt x="123" y="0"/>
                        <a:pt x="123" y="0"/>
                      </a:cubicBezTo>
                      <a:cubicBezTo>
                        <a:pt x="135" y="0"/>
                        <a:pt x="144" y="9"/>
                        <a:pt x="144" y="21"/>
                      </a:cubicBezTo>
                      <a:lnTo>
                        <a:pt x="144"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8" name="Freeform 112"/>
                <p:cNvSpPr>
                  <a:spLocks/>
                </p:cNvSpPr>
                <p:nvPr/>
              </p:nvSpPr>
              <p:spPr bwMode="auto">
                <a:xfrm>
                  <a:off x="2368" y="2390"/>
                  <a:ext cx="84" cy="33"/>
                </a:xfrm>
                <a:custGeom>
                  <a:avLst/>
                  <a:gdLst>
                    <a:gd name="T0" fmla="*/ 84 w 84"/>
                    <a:gd name="T1" fmla="*/ 33 h 33"/>
                    <a:gd name="T2" fmla="*/ 78 w 84"/>
                    <a:gd name="T3" fmla="*/ 33 h 33"/>
                    <a:gd name="T4" fmla="*/ 78 w 84"/>
                    <a:gd name="T5" fmla="*/ 5 h 33"/>
                    <a:gd name="T6" fmla="*/ 0 w 84"/>
                    <a:gd name="T7" fmla="*/ 5 h 33"/>
                    <a:gd name="T8" fmla="*/ 0 w 84"/>
                    <a:gd name="T9" fmla="*/ 0 h 33"/>
                    <a:gd name="T10" fmla="*/ 84 w 84"/>
                    <a:gd name="T11" fmla="*/ 0 h 33"/>
                    <a:gd name="T12" fmla="*/ 84 w 8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84" h="33">
                      <a:moveTo>
                        <a:pt x="84" y="33"/>
                      </a:moveTo>
                      <a:lnTo>
                        <a:pt x="78" y="33"/>
                      </a:lnTo>
                      <a:lnTo>
                        <a:pt x="78" y="5"/>
                      </a:lnTo>
                      <a:lnTo>
                        <a:pt x="0" y="5"/>
                      </a:lnTo>
                      <a:lnTo>
                        <a:pt x="0" y="0"/>
                      </a:lnTo>
                      <a:lnTo>
                        <a:pt x="84" y="0"/>
                      </a:lnTo>
                      <a:lnTo>
                        <a:pt x="84" y="3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49" name="Freeform 113"/>
                <p:cNvSpPr>
                  <a:spLocks/>
                </p:cNvSpPr>
                <p:nvPr/>
              </p:nvSpPr>
              <p:spPr bwMode="auto">
                <a:xfrm>
                  <a:off x="2025" y="2316"/>
                  <a:ext cx="230" cy="40"/>
                </a:xfrm>
                <a:custGeom>
                  <a:avLst/>
                  <a:gdLst>
                    <a:gd name="T0" fmla="*/ 118 w 230"/>
                    <a:gd name="T1" fmla="*/ 17 h 40"/>
                    <a:gd name="T2" fmla="*/ 118 w 230"/>
                    <a:gd name="T3" fmla="*/ 0 h 40"/>
                    <a:gd name="T4" fmla="*/ 112 w 230"/>
                    <a:gd name="T5" fmla="*/ 0 h 40"/>
                    <a:gd name="T6" fmla="*/ 112 w 230"/>
                    <a:gd name="T7" fmla="*/ 17 h 40"/>
                    <a:gd name="T8" fmla="*/ 0 w 230"/>
                    <a:gd name="T9" fmla="*/ 17 h 40"/>
                    <a:gd name="T10" fmla="*/ 0 w 230"/>
                    <a:gd name="T11" fmla="*/ 40 h 40"/>
                    <a:gd name="T12" fmla="*/ 5 w 230"/>
                    <a:gd name="T13" fmla="*/ 40 h 40"/>
                    <a:gd name="T14" fmla="*/ 5 w 230"/>
                    <a:gd name="T15" fmla="*/ 23 h 40"/>
                    <a:gd name="T16" fmla="*/ 112 w 230"/>
                    <a:gd name="T17" fmla="*/ 23 h 40"/>
                    <a:gd name="T18" fmla="*/ 118 w 230"/>
                    <a:gd name="T19" fmla="*/ 23 h 40"/>
                    <a:gd name="T20" fmla="*/ 225 w 230"/>
                    <a:gd name="T21" fmla="*/ 23 h 40"/>
                    <a:gd name="T22" fmla="*/ 225 w 230"/>
                    <a:gd name="T23" fmla="*/ 40 h 40"/>
                    <a:gd name="T24" fmla="*/ 230 w 230"/>
                    <a:gd name="T25" fmla="*/ 40 h 40"/>
                    <a:gd name="T26" fmla="*/ 230 w 230"/>
                    <a:gd name="T27" fmla="*/ 17 h 40"/>
                    <a:gd name="T28" fmla="*/ 118 w 230"/>
                    <a:gd name="T2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40">
                      <a:moveTo>
                        <a:pt x="118" y="17"/>
                      </a:moveTo>
                      <a:lnTo>
                        <a:pt x="118" y="0"/>
                      </a:lnTo>
                      <a:lnTo>
                        <a:pt x="112" y="0"/>
                      </a:lnTo>
                      <a:lnTo>
                        <a:pt x="112" y="17"/>
                      </a:lnTo>
                      <a:lnTo>
                        <a:pt x="0" y="17"/>
                      </a:lnTo>
                      <a:lnTo>
                        <a:pt x="0" y="40"/>
                      </a:lnTo>
                      <a:lnTo>
                        <a:pt x="5" y="40"/>
                      </a:lnTo>
                      <a:lnTo>
                        <a:pt x="5" y="23"/>
                      </a:lnTo>
                      <a:lnTo>
                        <a:pt x="112" y="23"/>
                      </a:lnTo>
                      <a:lnTo>
                        <a:pt x="118" y="23"/>
                      </a:lnTo>
                      <a:lnTo>
                        <a:pt x="225" y="23"/>
                      </a:lnTo>
                      <a:lnTo>
                        <a:pt x="225" y="40"/>
                      </a:lnTo>
                      <a:lnTo>
                        <a:pt x="230" y="40"/>
                      </a:lnTo>
                      <a:lnTo>
                        <a:pt x="230" y="17"/>
                      </a:lnTo>
                      <a:lnTo>
                        <a:pt x="118"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50" name="Rectangle 114"/>
                <p:cNvSpPr>
                  <a:spLocks noChangeArrowheads="1"/>
                </p:cNvSpPr>
                <p:nvPr/>
              </p:nvSpPr>
              <p:spPr bwMode="auto">
                <a:xfrm>
                  <a:off x="2547" y="2108"/>
                  <a:ext cx="51" cy="51"/>
                </a:xfrm>
                <a:prstGeom prst="rect">
                  <a:avLst/>
                </a:prstGeom>
                <a:solidFill>
                  <a:srgbClr val="DF5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51" name="Freeform 115"/>
                <p:cNvSpPr>
                  <a:spLocks/>
                </p:cNvSpPr>
                <p:nvPr/>
              </p:nvSpPr>
              <p:spPr bwMode="auto">
                <a:xfrm>
                  <a:off x="2559" y="2122"/>
                  <a:ext cx="29" cy="24"/>
                </a:xfrm>
                <a:custGeom>
                  <a:avLst/>
                  <a:gdLst>
                    <a:gd name="T0" fmla="*/ 5 w 21"/>
                    <a:gd name="T1" fmla="*/ 0 h 17"/>
                    <a:gd name="T2" fmla="*/ 8 w 21"/>
                    <a:gd name="T3" fmla="*/ 4 h 17"/>
                    <a:gd name="T4" fmla="*/ 11 w 21"/>
                    <a:gd name="T5" fmla="*/ 6 h 17"/>
                    <a:gd name="T6" fmla="*/ 11 w 21"/>
                    <a:gd name="T7" fmla="*/ 6 h 17"/>
                    <a:gd name="T8" fmla="*/ 13 w 21"/>
                    <a:gd name="T9" fmla="*/ 4 h 17"/>
                    <a:gd name="T10" fmla="*/ 16 w 21"/>
                    <a:gd name="T11" fmla="*/ 0 h 17"/>
                    <a:gd name="T12" fmla="*/ 21 w 21"/>
                    <a:gd name="T13" fmla="*/ 0 h 17"/>
                    <a:gd name="T14" fmla="*/ 13 w 21"/>
                    <a:gd name="T15" fmla="*/ 8 h 17"/>
                    <a:gd name="T16" fmla="*/ 21 w 21"/>
                    <a:gd name="T17" fmla="*/ 17 h 17"/>
                    <a:gd name="T18" fmla="*/ 16 w 21"/>
                    <a:gd name="T19" fmla="*/ 17 h 17"/>
                    <a:gd name="T20" fmla="*/ 13 w 21"/>
                    <a:gd name="T21" fmla="*/ 13 h 17"/>
                    <a:gd name="T22" fmla="*/ 11 w 21"/>
                    <a:gd name="T23" fmla="*/ 10 h 17"/>
                    <a:gd name="T24" fmla="*/ 10 w 21"/>
                    <a:gd name="T25" fmla="*/ 10 h 17"/>
                    <a:gd name="T26" fmla="*/ 8 w 21"/>
                    <a:gd name="T27" fmla="*/ 13 h 17"/>
                    <a:gd name="T28" fmla="*/ 5 w 21"/>
                    <a:gd name="T29" fmla="*/ 17 h 17"/>
                    <a:gd name="T30" fmla="*/ 0 w 21"/>
                    <a:gd name="T31" fmla="*/ 17 h 17"/>
                    <a:gd name="T32" fmla="*/ 8 w 21"/>
                    <a:gd name="T33" fmla="*/ 8 h 17"/>
                    <a:gd name="T34" fmla="*/ 0 w 21"/>
                    <a:gd name="T35" fmla="*/ 0 h 17"/>
                    <a:gd name="T36" fmla="*/ 5 w 21"/>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7">
                      <a:moveTo>
                        <a:pt x="5" y="0"/>
                      </a:moveTo>
                      <a:cubicBezTo>
                        <a:pt x="8" y="4"/>
                        <a:pt x="8" y="4"/>
                        <a:pt x="8" y="4"/>
                      </a:cubicBezTo>
                      <a:cubicBezTo>
                        <a:pt x="9" y="5"/>
                        <a:pt x="10" y="6"/>
                        <a:pt x="11" y="6"/>
                      </a:cubicBezTo>
                      <a:cubicBezTo>
                        <a:pt x="11" y="6"/>
                        <a:pt x="11" y="6"/>
                        <a:pt x="11" y="6"/>
                      </a:cubicBezTo>
                      <a:cubicBezTo>
                        <a:pt x="12" y="5"/>
                        <a:pt x="12" y="5"/>
                        <a:pt x="13" y="4"/>
                      </a:cubicBezTo>
                      <a:cubicBezTo>
                        <a:pt x="16" y="0"/>
                        <a:pt x="16" y="0"/>
                        <a:pt x="16" y="0"/>
                      </a:cubicBezTo>
                      <a:cubicBezTo>
                        <a:pt x="21" y="0"/>
                        <a:pt x="21" y="0"/>
                        <a:pt x="21" y="0"/>
                      </a:cubicBezTo>
                      <a:cubicBezTo>
                        <a:pt x="13" y="8"/>
                        <a:pt x="13" y="8"/>
                        <a:pt x="13" y="8"/>
                      </a:cubicBezTo>
                      <a:cubicBezTo>
                        <a:pt x="21" y="17"/>
                        <a:pt x="21" y="17"/>
                        <a:pt x="21" y="17"/>
                      </a:cubicBezTo>
                      <a:cubicBezTo>
                        <a:pt x="16" y="17"/>
                        <a:pt x="16" y="17"/>
                        <a:pt x="16" y="17"/>
                      </a:cubicBezTo>
                      <a:cubicBezTo>
                        <a:pt x="13" y="13"/>
                        <a:pt x="13" y="13"/>
                        <a:pt x="13" y="13"/>
                      </a:cubicBezTo>
                      <a:cubicBezTo>
                        <a:pt x="12" y="12"/>
                        <a:pt x="11" y="11"/>
                        <a:pt x="11" y="10"/>
                      </a:cubicBezTo>
                      <a:cubicBezTo>
                        <a:pt x="10" y="10"/>
                        <a:pt x="10" y="10"/>
                        <a:pt x="10" y="10"/>
                      </a:cubicBezTo>
                      <a:cubicBezTo>
                        <a:pt x="10" y="11"/>
                        <a:pt x="9" y="12"/>
                        <a:pt x="8" y="13"/>
                      </a:cubicBezTo>
                      <a:cubicBezTo>
                        <a:pt x="5" y="17"/>
                        <a:pt x="5" y="17"/>
                        <a:pt x="5" y="17"/>
                      </a:cubicBezTo>
                      <a:cubicBezTo>
                        <a:pt x="0" y="17"/>
                        <a:pt x="0" y="17"/>
                        <a:pt x="0" y="17"/>
                      </a:cubicBezTo>
                      <a:cubicBezTo>
                        <a:pt x="8" y="8"/>
                        <a:pt x="8" y="8"/>
                        <a:pt x="8" y="8"/>
                      </a:cubicBezTo>
                      <a:cubicBezTo>
                        <a:pt x="0" y="0"/>
                        <a:pt x="0" y="0"/>
                        <a:pt x="0" y="0"/>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grpSp>
          <p:sp>
            <p:nvSpPr>
              <p:cNvPr id="238" name="TextBox 237"/>
              <p:cNvSpPr txBox="1"/>
              <p:nvPr/>
            </p:nvSpPr>
            <p:spPr>
              <a:xfrm>
                <a:off x="5549725" y="3033312"/>
                <a:ext cx="782034" cy="155926"/>
              </a:xfrm>
              <a:prstGeom prst="rect">
                <a:avLst/>
              </a:prstGeom>
              <a:noFill/>
            </p:spPr>
            <p:txBody>
              <a:bodyPr wrap="none" lIns="0" tIns="0" rIns="0" bIns="0" rtlCol="0">
                <a:spAutoFit/>
              </a:bodyPr>
              <a:lstStyle/>
              <a:p>
                <a:pPr defTabSz="932597">
                  <a:lnSpc>
                    <a:spcPct val="90000"/>
                  </a:lnSpc>
                  <a:defRPr/>
                </a:pPr>
                <a:r>
                  <a:rPr lang="en-US" sz="600" b="1">
                    <a:solidFill>
                      <a:srgbClr val="0064B7"/>
                    </a:solidFill>
                    <a:latin typeface="Segoe UI"/>
                  </a:rPr>
                  <a:t>ML STUDIO</a:t>
                </a:r>
              </a:p>
            </p:txBody>
          </p:sp>
        </p:grpSp>
        <p:pic>
          <p:nvPicPr>
            <p:cNvPr id="183" name="Picture 18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89914" y="5232782"/>
              <a:ext cx="682696" cy="407383"/>
            </a:xfrm>
            <a:prstGeom prst="rect">
              <a:avLst/>
            </a:prstGeom>
          </p:spPr>
        </p:pic>
        <p:grpSp>
          <p:nvGrpSpPr>
            <p:cNvPr id="17" name="Group 16"/>
            <p:cNvGrpSpPr/>
            <p:nvPr/>
          </p:nvGrpSpPr>
          <p:grpSpPr>
            <a:xfrm>
              <a:off x="9404810" y="3721048"/>
              <a:ext cx="652905" cy="1031484"/>
              <a:chOff x="9354267" y="3694431"/>
              <a:chExt cx="652905" cy="1031484"/>
            </a:xfrm>
          </p:grpSpPr>
          <p:grpSp>
            <p:nvGrpSpPr>
              <p:cNvPr id="229" name="Group 228"/>
              <p:cNvGrpSpPr/>
              <p:nvPr/>
            </p:nvGrpSpPr>
            <p:grpSpPr>
              <a:xfrm>
                <a:off x="9444672" y="3694431"/>
                <a:ext cx="472094" cy="608208"/>
                <a:chOff x="6915551" y="1594516"/>
                <a:chExt cx="3482234" cy="4486226"/>
              </a:xfrm>
            </p:grpSpPr>
            <p:sp>
              <p:nvSpPr>
                <p:cNvPr id="231" name="Oval 230"/>
                <p:cNvSpPr/>
                <p:nvPr/>
              </p:nvSpPr>
              <p:spPr bwMode="auto">
                <a:xfrm>
                  <a:off x="6915551" y="1594516"/>
                  <a:ext cx="3482234" cy="3482234"/>
                </a:xfrm>
                <a:prstGeom prst="ellips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408" b="1" err="1">
                    <a:solidFill>
                      <a:srgbClr val="0064B7"/>
                    </a:solidFill>
                    <a:latin typeface="Segoe UI"/>
                    <a:ea typeface="Segoe UI" pitchFamily="34" charset="0"/>
                    <a:cs typeface="Segoe UI" pitchFamily="34" charset="0"/>
                  </a:endParaRPr>
                </a:p>
              </p:txBody>
            </p:sp>
            <p:grpSp>
              <p:nvGrpSpPr>
                <p:cNvPr id="232" name="Group 118"/>
                <p:cNvGrpSpPr>
                  <a:grpSpLocks noChangeAspect="1"/>
                </p:cNvGrpSpPr>
                <p:nvPr/>
              </p:nvGrpSpPr>
              <p:grpSpPr bwMode="auto">
                <a:xfrm>
                  <a:off x="7962136" y="2956542"/>
                  <a:ext cx="1389063" cy="3124200"/>
                  <a:chOff x="3804" y="2071"/>
                  <a:chExt cx="875" cy="1968"/>
                </a:xfrm>
              </p:grpSpPr>
              <p:sp>
                <p:nvSpPr>
                  <p:cNvPr id="233" name="Freeform 119"/>
                  <p:cNvSpPr>
                    <a:spLocks/>
                  </p:cNvSpPr>
                  <p:nvPr/>
                </p:nvSpPr>
                <p:spPr bwMode="auto">
                  <a:xfrm>
                    <a:off x="3804" y="2238"/>
                    <a:ext cx="875" cy="1801"/>
                  </a:xfrm>
                  <a:custGeom>
                    <a:avLst/>
                    <a:gdLst>
                      <a:gd name="T0" fmla="*/ 107 w 119"/>
                      <a:gd name="T1" fmla="*/ 0 h 248"/>
                      <a:gd name="T2" fmla="*/ 108 w 119"/>
                      <a:gd name="T3" fmla="*/ 2 h 248"/>
                      <a:gd name="T4" fmla="*/ 60 w 119"/>
                      <a:gd name="T5" fmla="*/ 50 h 248"/>
                      <a:gd name="T6" fmla="*/ 12 w 119"/>
                      <a:gd name="T7" fmla="*/ 2 h 248"/>
                      <a:gd name="T8" fmla="*/ 12 w 119"/>
                      <a:gd name="T9" fmla="*/ 0 h 248"/>
                      <a:gd name="T10" fmla="*/ 0 w 119"/>
                      <a:gd name="T11" fmla="*/ 0 h 248"/>
                      <a:gd name="T12" fmla="*/ 0 w 119"/>
                      <a:gd name="T13" fmla="*/ 2 h 248"/>
                      <a:gd name="T14" fmla="*/ 54 w 119"/>
                      <a:gd name="T15" fmla="*/ 60 h 248"/>
                      <a:gd name="T16" fmla="*/ 54 w 119"/>
                      <a:gd name="T17" fmla="*/ 248 h 248"/>
                      <a:gd name="T18" fmla="*/ 66 w 119"/>
                      <a:gd name="T19" fmla="*/ 248 h 248"/>
                      <a:gd name="T20" fmla="*/ 66 w 119"/>
                      <a:gd name="T21" fmla="*/ 60 h 248"/>
                      <a:gd name="T22" fmla="*/ 119 w 119"/>
                      <a:gd name="T23" fmla="*/ 2 h 248"/>
                      <a:gd name="T24" fmla="*/ 119 w 119"/>
                      <a:gd name="T25" fmla="*/ 0 h 248"/>
                      <a:gd name="T26" fmla="*/ 107 w 119"/>
                      <a:gd name="T27"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248">
                        <a:moveTo>
                          <a:pt x="107" y="0"/>
                        </a:moveTo>
                        <a:cubicBezTo>
                          <a:pt x="107" y="1"/>
                          <a:pt x="108" y="1"/>
                          <a:pt x="108" y="2"/>
                        </a:cubicBezTo>
                        <a:cubicBezTo>
                          <a:pt x="108" y="28"/>
                          <a:pt x="86" y="50"/>
                          <a:pt x="60" y="50"/>
                        </a:cubicBezTo>
                        <a:cubicBezTo>
                          <a:pt x="33" y="50"/>
                          <a:pt x="12" y="28"/>
                          <a:pt x="12" y="2"/>
                        </a:cubicBezTo>
                        <a:cubicBezTo>
                          <a:pt x="12" y="1"/>
                          <a:pt x="12" y="1"/>
                          <a:pt x="12" y="0"/>
                        </a:cubicBezTo>
                        <a:cubicBezTo>
                          <a:pt x="0" y="0"/>
                          <a:pt x="0" y="0"/>
                          <a:pt x="0" y="0"/>
                        </a:cubicBezTo>
                        <a:cubicBezTo>
                          <a:pt x="0" y="1"/>
                          <a:pt x="0" y="1"/>
                          <a:pt x="0" y="2"/>
                        </a:cubicBezTo>
                        <a:cubicBezTo>
                          <a:pt x="0" y="32"/>
                          <a:pt x="24" y="58"/>
                          <a:pt x="54" y="60"/>
                        </a:cubicBezTo>
                        <a:cubicBezTo>
                          <a:pt x="54" y="248"/>
                          <a:pt x="54" y="248"/>
                          <a:pt x="54" y="248"/>
                        </a:cubicBezTo>
                        <a:cubicBezTo>
                          <a:pt x="66" y="248"/>
                          <a:pt x="66" y="248"/>
                          <a:pt x="66" y="248"/>
                        </a:cubicBezTo>
                        <a:cubicBezTo>
                          <a:pt x="66" y="60"/>
                          <a:pt x="66" y="60"/>
                          <a:pt x="66" y="60"/>
                        </a:cubicBezTo>
                        <a:cubicBezTo>
                          <a:pt x="96" y="57"/>
                          <a:pt x="119" y="32"/>
                          <a:pt x="119" y="2"/>
                        </a:cubicBezTo>
                        <a:cubicBezTo>
                          <a:pt x="119" y="1"/>
                          <a:pt x="119" y="1"/>
                          <a:pt x="119" y="0"/>
                        </a:cubicBezTo>
                        <a:lnTo>
                          <a:pt x="10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sp>
                <p:nvSpPr>
                  <p:cNvPr id="234" name="Oval 120"/>
                  <p:cNvSpPr>
                    <a:spLocks noChangeArrowheads="1"/>
                  </p:cNvSpPr>
                  <p:nvPr/>
                </p:nvSpPr>
                <p:spPr bwMode="auto">
                  <a:xfrm>
                    <a:off x="4025" y="2071"/>
                    <a:ext cx="433" cy="42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408" b="1">
                      <a:solidFill>
                        <a:srgbClr val="0064B7"/>
                      </a:solidFill>
                      <a:latin typeface="Segoe UI"/>
                    </a:endParaRPr>
                  </a:p>
                </p:txBody>
              </p:sp>
            </p:grpSp>
          </p:grpSp>
          <p:sp>
            <p:nvSpPr>
              <p:cNvPr id="341" name="Freeform 13"/>
              <p:cNvSpPr>
                <a:spLocks noChangeAspect="1" noEditPoints="1"/>
              </p:cNvSpPr>
              <p:nvPr/>
            </p:nvSpPr>
            <p:spPr bwMode="auto">
              <a:xfrm>
                <a:off x="9354267" y="4273739"/>
                <a:ext cx="652905" cy="45217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27" tIns="45713" rIns="91427" bIns="91427" numCol="1" anchor="b" anchorCtr="0" compatLnSpc="1">
                <a:prstTxWarp prst="textNoShape">
                  <a:avLst/>
                </a:prstTxWarp>
              </a:bodyPr>
              <a:lstStyle/>
              <a:p>
                <a:pPr algn="ctr" defTabSz="932597">
                  <a:defRPr/>
                </a:pPr>
                <a:r>
                  <a:rPr lang="en-US" sz="1199" b="1">
                    <a:solidFill>
                      <a:srgbClr val="0064B7"/>
                    </a:solidFill>
                    <a:latin typeface="Segoe UI"/>
                  </a:rPr>
                  <a:t>API</a:t>
                </a:r>
              </a:p>
            </p:txBody>
          </p:sp>
        </p:grpSp>
        <p:grpSp>
          <p:nvGrpSpPr>
            <p:cNvPr id="24" name="Group 23"/>
            <p:cNvGrpSpPr/>
            <p:nvPr/>
          </p:nvGrpSpPr>
          <p:grpSpPr>
            <a:xfrm>
              <a:off x="6998768" y="4241594"/>
              <a:ext cx="120071" cy="275320"/>
              <a:chOff x="7145164" y="4227828"/>
              <a:chExt cx="132078" cy="302852"/>
            </a:xfrm>
          </p:grpSpPr>
          <p:cxnSp>
            <p:nvCxnSpPr>
              <p:cNvPr id="21" name="Straight Arrow Connector 20"/>
              <p:cNvCxnSpPr/>
              <p:nvPr/>
            </p:nvCxnSpPr>
            <p:spPr>
              <a:xfrm>
                <a:off x="7145164" y="4316728"/>
                <a:ext cx="0" cy="213952"/>
              </a:xfrm>
              <a:prstGeom prst="straightConnector1">
                <a:avLst/>
              </a:prstGeom>
              <a:ln w="22225" cap="flat">
                <a:solidFill>
                  <a:schemeClr val="bg1">
                    <a:lumMod val="65000"/>
                  </a:schemeClr>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42" name="Straight Arrow Connector 341"/>
              <p:cNvCxnSpPr/>
              <p:nvPr/>
            </p:nvCxnSpPr>
            <p:spPr>
              <a:xfrm flipH="1" flipV="1">
                <a:off x="7277242" y="4227828"/>
                <a:ext cx="0" cy="213952"/>
              </a:xfrm>
              <a:prstGeom prst="straightConnector1">
                <a:avLst/>
              </a:prstGeom>
              <a:ln w="22225" cap="flat">
                <a:solidFill>
                  <a:schemeClr val="bg1">
                    <a:lumMod val="65000"/>
                  </a:schemeClr>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grpSp>
        <p:cxnSp>
          <p:nvCxnSpPr>
            <p:cNvPr id="343" name="Straight Arrow Connector 342"/>
            <p:cNvCxnSpPr/>
            <p:nvPr/>
          </p:nvCxnSpPr>
          <p:spPr>
            <a:xfrm>
              <a:off x="7466600" y="3997936"/>
              <a:ext cx="470900" cy="0"/>
            </a:xfrm>
            <a:prstGeom prst="straightConnector1">
              <a:avLst/>
            </a:prstGeom>
            <a:ln w="22225" cap="flat">
              <a:solidFill>
                <a:schemeClr val="bg1">
                  <a:lumMod val="65000"/>
                </a:schemeClr>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44" name="Straight Arrow Connector 343"/>
            <p:cNvCxnSpPr/>
            <p:nvPr/>
          </p:nvCxnSpPr>
          <p:spPr>
            <a:xfrm>
              <a:off x="9119943" y="3997936"/>
              <a:ext cx="292393"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345" name="Straight Arrow Connector 344"/>
            <p:cNvCxnSpPr/>
            <p:nvPr/>
          </p:nvCxnSpPr>
          <p:spPr>
            <a:xfrm rot="16200000">
              <a:off x="9585066" y="4992658"/>
              <a:ext cx="292393"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346" name="Straight Arrow Connector 345"/>
            <p:cNvCxnSpPr/>
            <p:nvPr/>
          </p:nvCxnSpPr>
          <p:spPr>
            <a:xfrm rot="10800000">
              <a:off x="10455235" y="5436473"/>
              <a:ext cx="292393"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347" name="Straight Arrow Connector 346"/>
            <p:cNvCxnSpPr/>
            <p:nvPr/>
          </p:nvCxnSpPr>
          <p:spPr>
            <a:xfrm>
              <a:off x="10455235" y="3997936"/>
              <a:ext cx="292393"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grpSp>
      <p:sp>
        <p:nvSpPr>
          <p:cNvPr id="82" name="Rectangle 81"/>
          <p:cNvSpPr/>
          <p:nvPr/>
        </p:nvSpPr>
        <p:spPr bwMode="auto">
          <a:xfrm>
            <a:off x="8247717" y="3615548"/>
            <a:ext cx="1917630" cy="254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846" fontAlgn="base">
              <a:lnSpc>
                <a:spcPct val="90000"/>
              </a:lnSpc>
              <a:spcBef>
                <a:spcPct val="0"/>
              </a:spcBef>
              <a:spcAft>
                <a:spcPct val="0"/>
              </a:spcAft>
              <a:defRPr/>
            </a:pPr>
            <a:r>
              <a:rPr lang="en-US" b="1">
                <a:solidFill>
                  <a:srgbClr val="0064B7"/>
                </a:solidFill>
                <a:latin typeface="Segoe UI"/>
                <a:ea typeface="Segoe UI" pitchFamily="34" charset="0"/>
                <a:cs typeface="Segoe UI Semilight" panose="020B0402040204020203" pitchFamily="34" charset="0"/>
              </a:rPr>
              <a:t>Modeling &amp; APIs</a:t>
            </a:r>
          </a:p>
        </p:txBody>
      </p:sp>
      <p:sp>
        <p:nvSpPr>
          <p:cNvPr id="84" name="Freeform 12"/>
          <p:cNvSpPr>
            <a:spLocks noChangeAspect="1" noEditPoints="1"/>
          </p:cNvSpPr>
          <p:nvPr/>
        </p:nvSpPr>
        <p:spPr bwMode="auto">
          <a:xfrm>
            <a:off x="10829309" y="244005"/>
            <a:ext cx="419763" cy="695173"/>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
        <p:nvSpPr>
          <p:cNvPr id="86" name="TextBox 85"/>
          <p:cNvSpPr txBox="1"/>
          <p:nvPr/>
        </p:nvSpPr>
        <p:spPr>
          <a:xfrm>
            <a:off x="1117243" y="1908629"/>
            <a:ext cx="3840388" cy="1127922"/>
          </a:xfrm>
          <a:prstGeom prst="rect">
            <a:avLst/>
          </a:prstGeom>
          <a:noFill/>
        </p:spPr>
        <p:txBody>
          <a:bodyPr wrap="square" lIns="182854" tIns="146283" rIns="182854" bIns="146283" rtlCol="0">
            <a:spAutoFit/>
          </a:bodyPr>
          <a:lstStyle/>
          <a:p>
            <a:pPr algn="ctr" defTabSz="932597">
              <a:spcAft>
                <a:spcPts val="600"/>
              </a:spcAft>
              <a:defRPr/>
            </a:pPr>
            <a:r>
              <a:rPr lang="en-US" sz="2652" b="1">
                <a:ln w="3175">
                  <a:noFill/>
                </a:ln>
                <a:gradFill>
                  <a:gsLst>
                    <a:gs pos="93860">
                      <a:srgbClr val="505050"/>
                    </a:gs>
                    <a:gs pos="78571">
                      <a:srgbClr val="505050"/>
                    </a:gs>
                  </a:gsLst>
                  <a:lin ang="5400000" scaled="0"/>
                </a:gradFill>
                <a:latin typeface="Segoe UI"/>
                <a:cs typeface="Segoe UI Semilight" panose="020B0402040204020203" pitchFamily="34" charset="0"/>
              </a:rPr>
              <a:t>Azure machine learning templates</a:t>
            </a:r>
          </a:p>
        </p:txBody>
      </p:sp>
      <p:sp>
        <p:nvSpPr>
          <p:cNvPr id="87" name="TextBox 86"/>
          <p:cNvSpPr txBox="1"/>
          <p:nvPr/>
        </p:nvSpPr>
        <p:spPr>
          <a:xfrm>
            <a:off x="7364813" y="1904300"/>
            <a:ext cx="3445302" cy="1127922"/>
          </a:xfrm>
          <a:prstGeom prst="rect">
            <a:avLst/>
          </a:prstGeom>
          <a:noFill/>
        </p:spPr>
        <p:txBody>
          <a:bodyPr wrap="square" lIns="182854" tIns="146283" rIns="182854" bIns="146283" rtlCol="0">
            <a:spAutoFit/>
          </a:bodyPr>
          <a:lstStyle/>
          <a:p>
            <a:pPr algn="ctr" defTabSz="932597">
              <a:spcAft>
                <a:spcPts val="600"/>
              </a:spcAft>
              <a:defRPr/>
            </a:pPr>
            <a:r>
              <a:rPr lang="en-US" sz="2652" b="1">
                <a:ln w="3175">
                  <a:noFill/>
                </a:ln>
                <a:gradFill>
                  <a:gsLst>
                    <a:gs pos="93860">
                      <a:srgbClr val="505050"/>
                    </a:gs>
                    <a:gs pos="78571">
                      <a:srgbClr val="505050"/>
                    </a:gs>
                  </a:gsLst>
                  <a:lin ang="5400000" scaled="0"/>
                </a:gradFill>
                <a:latin typeface="Segoe UI"/>
                <a:cs typeface="Segoe UI Semilight" panose="020B0402040204020203" pitchFamily="34" charset="0"/>
              </a:rPr>
              <a:t>Azure machine learning service</a:t>
            </a:r>
          </a:p>
        </p:txBody>
      </p:sp>
      <p:cxnSp>
        <p:nvCxnSpPr>
          <p:cNvPr id="89" name="Straight Connector 88"/>
          <p:cNvCxnSpPr/>
          <p:nvPr/>
        </p:nvCxnSpPr>
        <p:spPr>
          <a:xfrm>
            <a:off x="6698669" y="3250567"/>
            <a:ext cx="4847495" cy="0"/>
          </a:xfrm>
          <a:prstGeom prst="line">
            <a:avLst/>
          </a:prstGeom>
          <a:ln w="317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526531" y="3250567"/>
            <a:ext cx="4847495" cy="0"/>
          </a:xfrm>
          <a:prstGeom prst="line">
            <a:avLst/>
          </a:prstGeom>
          <a:ln w="317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6246425" y="4981386"/>
            <a:ext cx="1708669" cy="1334347"/>
            <a:chOff x="1219953" y="3192546"/>
            <a:chExt cx="3202418" cy="3207761"/>
          </a:xfrm>
        </p:grpSpPr>
        <p:sp>
          <p:nvSpPr>
            <p:cNvPr id="79" name="Oval 78"/>
            <p:cNvSpPr/>
            <p:nvPr/>
          </p:nvSpPr>
          <p:spPr bwMode="auto">
            <a:xfrm>
              <a:off x="1219953" y="3192546"/>
              <a:ext cx="3202418" cy="3207761"/>
            </a:xfrm>
            <a:prstGeom prst="ellipse">
              <a:avLst/>
            </a:prstGeom>
            <a:solidFill>
              <a:srgbClr val="001F50"/>
            </a:solidFill>
            <a:ln w="28575"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0" rIns="186494" bIns="0" numCol="1" spcCol="0" rtlCol="0" fromWordArt="0" anchor="t" anchorCtr="0" forceAA="0" compatLnSpc="1">
              <a:prstTxWarp prst="textNoShape">
                <a:avLst/>
              </a:prstTxWarp>
              <a:noAutofit/>
            </a:bodyPr>
            <a:lstStyle/>
            <a:p>
              <a:pPr algn="ctr" defTabSz="932597" fontAlgn="base">
                <a:lnSpc>
                  <a:spcPct val="90000"/>
                </a:lnSpc>
                <a:spcBef>
                  <a:spcPct val="0"/>
                </a:spcBef>
                <a:spcAft>
                  <a:spcPts val="612"/>
                </a:spcAft>
                <a:defRPr/>
              </a:pPr>
              <a:endParaRPr lang="en-US" sz="918" b="1">
                <a:solidFill>
                  <a:srgbClr val="FFFFFF"/>
                </a:solidFill>
                <a:latin typeface="Segoe UI Semilight" panose="020B0402040204020203" pitchFamily="34" charset="0"/>
                <a:cs typeface="Segoe UI Semilight" panose="020B0402040204020203" pitchFamily="34" charset="0"/>
              </a:endParaRPr>
            </a:p>
          </p:txBody>
        </p:sp>
        <p:sp>
          <p:nvSpPr>
            <p:cNvPr id="80" name="Oval 79"/>
            <p:cNvSpPr/>
            <p:nvPr/>
          </p:nvSpPr>
          <p:spPr bwMode="auto">
            <a:xfrm>
              <a:off x="1657166" y="4066972"/>
              <a:ext cx="2327992" cy="2331876"/>
            </a:xfrm>
            <a:prstGeom prst="ellipse">
              <a:avLst/>
            </a:prstGeom>
            <a:solidFill>
              <a:srgbClr val="00327A"/>
            </a:solidFill>
            <a:ln w="28575"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597" fontAlgn="base">
                <a:lnSpc>
                  <a:spcPct val="90000"/>
                </a:lnSpc>
                <a:spcBef>
                  <a:spcPct val="0"/>
                </a:spcBef>
                <a:spcAft>
                  <a:spcPts val="612"/>
                </a:spcAft>
                <a:defRPr/>
              </a:pPr>
              <a:endParaRPr lang="en-US" sz="918" b="1">
                <a:solidFill>
                  <a:srgbClr val="FFFFFF"/>
                </a:solidFill>
                <a:latin typeface="Segoe UI Semilight" panose="020B0402040204020203" pitchFamily="34" charset="0"/>
                <a:cs typeface="Segoe UI Semilight" panose="020B0402040204020203" pitchFamily="34" charset="0"/>
              </a:endParaRPr>
            </a:p>
          </p:txBody>
        </p:sp>
        <p:sp>
          <p:nvSpPr>
            <p:cNvPr id="81" name="Oval 80"/>
            <p:cNvSpPr/>
            <p:nvPr/>
          </p:nvSpPr>
          <p:spPr bwMode="auto">
            <a:xfrm>
              <a:off x="2121303" y="4949326"/>
              <a:ext cx="1426282" cy="1426282"/>
            </a:xfrm>
            <a:prstGeom prst="ellipse">
              <a:avLst/>
            </a:prstGeom>
            <a:solidFill>
              <a:srgbClr val="0064B7"/>
            </a:solidFill>
            <a:ln w="28575"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597" fontAlgn="base">
                <a:lnSpc>
                  <a:spcPct val="90000"/>
                </a:lnSpc>
                <a:spcBef>
                  <a:spcPct val="0"/>
                </a:spcBef>
                <a:spcAft>
                  <a:spcPts val="612"/>
                </a:spcAft>
                <a:defRPr/>
              </a:pPr>
              <a:endParaRPr lang="en-US" sz="918" b="1">
                <a:solidFill>
                  <a:srgbClr val="FFFFFF"/>
                </a:solidFill>
                <a:latin typeface="Segoe UI Semilight" panose="020B0402040204020203" pitchFamily="34" charset="0"/>
                <a:cs typeface="Segoe UI Semilight" panose="020B0402040204020203" pitchFamily="34" charset="0"/>
              </a:endParaRPr>
            </a:p>
          </p:txBody>
        </p:sp>
        <p:sp>
          <p:nvSpPr>
            <p:cNvPr id="85" name="Rectangle 84"/>
            <p:cNvSpPr/>
            <p:nvPr/>
          </p:nvSpPr>
          <p:spPr>
            <a:xfrm>
              <a:off x="2065338" y="5400536"/>
              <a:ext cx="1538215" cy="849892"/>
            </a:xfrm>
            <a:prstGeom prst="rect">
              <a:avLst/>
            </a:prstGeom>
          </p:spPr>
          <p:txBody>
            <a:bodyPr wrap="square">
              <a:spAutoFit/>
            </a:bodyPr>
            <a:lstStyle/>
            <a:p>
              <a:pPr algn="ctr" defTabSz="932597" fontAlgn="base">
                <a:lnSpc>
                  <a:spcPct val="90000"/>
                </a:lnSpc>
                <a:spcBef>
                  <a:spcPct val="0"/>
                </a:spcBef>
                <a:spcAft>
                  <a:spcPts val="612"/>
                </a:spcAft>
                <a:defRPr/>
              </a:pPr>
              <a:r>
                <a:rPr lang="en-US" sz="918" b="1">
                  <a:solidFill>
                    <a:srgbClr val="FFFFFF"/>
                  </a:solidFill>
                  <a:latin typeface="Segoe UI"/>
                  <a:cs typeface="Segoe UI Semilight" panose="020B0402040204020203" pitchFamily="34" charset="0"/>
                </a:rPr>
                <a:t>Traditional data</a:t>
              </a:r>
            </a:p>
          </p:txBody>
        </p:sp>
        <p:sp>
          <p:nvSpPr>
            <p:cNvPr id="88" name="Rectangle 87"/>
            <p:cNvSpPr/>
            <p:nvPr/>
          </p:nvSpPr>
          <p:spPr>
            <a:xfrm>
              <a:off x="2121583" y="4352075"/>
              <a:ext cx="1399162" cy="538142"/>
            </a:xfrm>
            <a:prstGeom prst="rect">
              <a:avLst/>
            </a:prstGeom>
          </p:spPr>
          <p:txBody>
            <a:bodyPr wrap="square">
              <a:spAutoFit/>
            </a:bodyPr>
            <a:lstStyle/>
            <a:p>
              <a:pPr algn="ctr" defTabSz="932597" fontAlgn="base">
                <a:lnSpc>
                  <a:spcPct val="90000"/>
                </a:lnSpc>
                <a:spcBef>
                  <a:spcPct val="0"/>
                </a:spcBef>
                <a:spcAft>
                  <a:spcPts val="612"/>
                </a:spcAft>
                <a:defRPr/>
              </a:pPr>
              <a:r>
                <a:rPr lang="en-US" sz="918" b="1">
                  <a:solidFill>
                    <a:srgbClr val="FFFFFF"/>
                  </a:solidFill>
                  <a:latin typeface="Segoe UI"/>
                  <a:cs typeface="Segoe UI Semilight" panose="020B0402040204020203" pitchFamily="34" charset="0"/>
                </a:rPr>
                <a:t>Web data</a:t>
              </a:r>
            </a:p>
          </p:txBody>
        </p:sp>
        <p:sp>
          <p:nvSpPr>
            <p:cNvPr id="92" name="Rectangle 91"/>
            <p:cNvSpPr/>
            <p:nvPr/>
          </p:nvSpPr>
          <p:spPr>
            <a:xfrm>
              <a:off x="2121583" y="3416437"/>
              <a:ext cx="1399162" cy="538142"/>
            </a:xfrm>
            <a:prstGeom prst="rect">
              <a:avLst/>
            </a:prstGeom>
          </p:spPr>
          <p:txBody>
            <a:bodyPr wrap="square">
              <a:spAutoFit/>
            </a:bodyPr>
            <a:lstStyle/>
            <a:p>
              <a:pPr algn="ctr" defTabSz="932597" fontAlgn="base">
                <a:lnSpc>
                  <a:spcPct val="90000"/>
                </a:lnSpc>
                <a:spcBef>
                  <a:spcPct val="0"/>
                </a:spcBef>
                <a:spcAft>
                  <a:spcPts val="612"/>
                </a:spcAft>
                <a:defRPr/>
              </a:pPr>
              <a:r>
                <a:rPr lang="en-US" sz="918" b="1">
                  <a:solidFill>
                    <a:srgbClr val="FFFFFF"/>
                  </a:solidFill>
                  <a:latin typeface="Segoe UI"/>
                  <a:cs typeface="Segoe UI Semilight" panose="020B0402040204020203" pitchFamily="34" charset="0"/>
                </a:rPr>
                <a:t>Big data</a:t>
              </a:r>
            </a:p>
          </p:txBody>
        </p:sp>
      </p:grpSp>
      <p:sp>
        <p:nvSpPr>
          <p:cNvPr id="93" name="Rectangle 92"/>
          <p:cNvSpPr/>
          <p:nvPr/>
        </p:nvSpPr>
        <p:spPr>
          <a:xfrm>
            <a:off x="9650735" y="959212"/>
            <a:ext cx="2776910" cy="698790"/>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Data-Driven Intelligence</a:t>
            </a:r>
          </a:p>
          <a:p>
            <a:pPr algn="ctr" defTabSz="932330">
              <a:lnSpc>
                <a:spcPct val="90000"/>
              </a:lnSpc>
              <a:defRPr/>
            </a:pPr>
            <a:endParaRPr lang="en-US" sz="1428" b="1" kern="0" dirty="0">
              <a:ln w="3175">
                <a:noFill/>
              </a:ln>
              <a:solidFill>
                <a:srgbClr val="FFFFFF"/>
              </a:solidFill>
              <a:latin typeface="Segoe UI"/>
              <a:cs typeface="Segoe UI" pitchFamily="34" charset="0"/>
            </a:endParaRPr>
          </a:p>
        </p:txBody>
      </p:sp>
    </p:spTree>
    <p:extLst>
      <p:ext uri="{BB962C8B-B14F-4D97-AF65-F5344CB8AC3E}">
        <p14:creationId xmlns:p14="http://schemas.microsoft.com/office/powerpoint/2010/main" val="14810190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3" name="Group 822"/>
          <p:cNvGrpSpPr/>
          <p:nvPr/>
        </p:nvGrpSpPr>
        <p:grpSpPr>
          <a:xfrm>
            <a:off x="5070183" y="6225553"/>
            <a:ext cx="2250267" cy="10632329"/>
            <a:chOff x="3727767" y="4460940"/>
            <a:chExt cx="1654758" cy="7818599"/>
          </a:xfrm>
        </p:grpSpPr>
        <p:grpSp>
          <p:nvGrpSpPr>
            <p:cNvPr id="824" name="Group 823"/>
            <p:cNvGrpSpPr/>
            <p:nvPr/>
          </p:nvGrpSpPr>
          <p:grpSpPr>
            <a:xfrm>
              <a:off x="4237648" y="9792767"/>
              <a:ext cx="940177" cy="148019"/>
              <a:chOff x="-1302701" y="9714753"/>
              <a:chExt cx="940177" cy="148019"/>
            </a:xfrm>
          </p:grpSpPr>
          <p:grpSp>
            <p:nvGrpSpPr>
              <p:cNvPr id="999" name="Group 998"/>
              <p:cNvGrpSpPr/>
              <p:nvPr/>
            </p:nvGrpSpPr>
            <p:grpSpPr>
              <a:xfrm flipH="1">
                <a:off x="-1302701" y="9714753"/>
                <a:ext cx="940177" cy="148019"/>
                <a:chOff x="6292744" y="2901950"/>
                <a:chExt cx="940177" cy="148019"/>
              </a:xfrm>
              <a:solidFill>
                <a:srgbClr val="D2E6FA"/>
              </a:solidFill>
            </p:grpSpPr>
            <p:sp>
              <p:nvSpPr>
                <p:cNvPr id="1001" name="Rectangle: Rounded Corners 888"/>
                <p:cNvSpPr/>
                <p:nvPr/>
              </p:nvSpPr>
              <p:spPr bwMode="auto">
                <a:xfrm>
                  <a:off x="6316605" y="2901950"/>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02" name="Isosceles Triangle 889"/>
                <p:cNvSpPr/>
                <p:nvPr/>
              </p:nvSpPr>
              <p:spPr bwMode="auto">
                <a:xfrm rot="16200000">
                  <a:off x="6269884" y="29622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1000" name="Rectangle 999"/>
              <p:cNvSpPr/>
              <p:nvPr/>
            </p:nvSpPr>
            <p:spPr>
              <a:xfrm flipH="1">
                <a:off x="-889750" y="9742596"/>
                <a:ext cx="466475" cy="94160"/>
              </a:xfrm>
              <a:prstGeom prst="rect">
                <a:avLst/>
              </a:prstGeom>
            </p:spPr>
            <p:txBody>
              <a:bodyPr wrap="none" lIns="0" tIns="0" rIns="0" bIns="0">
                <a:spAutoFit/>
              </a:bodyPr>
              <a:lstStyle/>
              <a:p>
                <a:pPr marL="0" lvl="1" algn="r" defTabSz="1243431">
                  <a:defRPr/>
                </a:pPr>
                <a:r>
                  <a:rPr lang="en-US" sz="816">
                    <a:solidFill>
                      <a:srgbClr val="505050"/>
                    </a:solidFill>
                    <a:latin typeface="Segoe UI"/>
                  </a:rPr>
                  <a:t>Hybrid Sedan</a:t>
                </a:r>
              </a:p>
            </p:txBody>
          </p:sp>
        </p:grpSp>
        <p:grpSp>
          <p:nvGrpSpPr>
            <p:cNvPr id="825" name="Group 824"/>
            <p:cNvGrpSpPr/>
            <p:nvPr/>
          </p:nvGrpSpPr>
          <p:grpSpPr>
            <a:xfrm>
              <a:off x="3935957" y="10013226"/>
              <a:ext cx="1376457" cy="154942"/>
              <a:chOff x="-1544321" y="9935212"/>
              <a:chExt cx="1376457" cy="154942"/>
            </a:xfrm>
          </p:grpSpPr>
          <p:grpSp>
            <p:nvGrpSpPr>
              <p:cNvPr id="995" name="Group 994"/>
              <p:cNvGrpSpPr/>
              <p:nvPr/>
            </p:nvGrpSpPr>
            <p:grpSpPr>
              <a:xfrm>
                <a:off x="-1544321" y="9935212"/>
                <a:ext cx="1376457" cy="154942"/>
                <a:chOff x="5501375" y="2827873"/>
                <a:chExt cx="1376457" cy="76603"/>
              </a:xfrm>
              <a:solidFill>
                <a:srgbClr val="FAFAFA"/>
              </a:solidFill>
            </p:grpSpPr>
            <p:sp>
              <p:nvSpPr>
                <p:cNvPr id="997" name="Rectangle: Rounded Corners 884"/>
                <p:cNvSpPr/>
                <p:nvPr/>
              </p:nvSpPr>
              <p:spPr bwMode="auto">
                <a:xfrm>
                  <a:off x="5526448" y="2827873"/>
                  <a:ext cx="1351384" cy="76603"/>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98" name="Isosceles Triangle 885"/>
                <p:cNvSpPr/>
                <p:nvPr/>
              </p:nvSpPr>
              <p:spPr bwMode="auto">
                <a:xfrm rot="16200000">
                  <a:off x="5486737" y="2853493"/>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96" name="Rectangle 995"/>
              <p:cNvSpPr/>
              <p:nvPr/>
            </p:nvSpPr>
            <p:spPr>
              <a:xfrm>
                <a:off x="-1476030" y="9965090"/>
                <a:ext cx="1305646" cy="94160"/>
              </a:xfrm>
              <a:prstGeom prst="rect">
                <a:avLst/>
              </a:prstGeom>
            </p:spPr>
            <p:txBody>
              <a:bodyPr wrap="none" lIns="0" tIns="0" rIns="0" bIns="0">
                <a:spAutoFit/>
              </a:bodyPr>
              <a:lstStyle/>
              <a:p>
                <a:pPr marL="0" lvl="1" defTabSz="1243431">
                  <a:defRPr/>
                </a:pPr>
                <a:r>
                  <a:rPr lang="en-US" sz="816" kern="0">
                    <a:solidFill>
                      <a:srgbClr val="505050"/>
                    </a:solidFill>
                    <a:latin typeface="Segoe UI"/>
                  </a:rPr>
                  <a:t>Please upload a picture of the vehicle.</a:t>
                </a:r>
                <a:endParaRPr lang="en-US" sz="816">
                  <a:solidFill>
                    <a:srgbClr val="505050"/>
                  </a:solidFill>
                  <a:latin typeface="Segoe UI"/>
                </a:endParaRPr>
              </a:p>
            </p:txBody>
          </p:sp>
        </p:grpSp>
        <p:grpSp>
          <p:nvGrpSpPr>
            <p:cNvPr id="826" name="Group 825"/>
            <p:cNvGrpSpPr/>
            <p:nvPr/>
          </p:nvGrpSpPr>
          <p:grpSpPr>
            <a:xfrm>
              <a:off x="3727767" y="10004911"/>
              <a:ext cx="182880" cy="182880"/>
              <a:chOff x="-1742986" y="9926897"/>
              <a:chExt cx="182880" cy="182880"/>
            </a:xfrm>
          </p:grpSpPr>
          <p:sp>
            <p:nvSpPr>
              <p:cNvPr id="993" name="Rectangle 992"/>
              <p:cNvSpPr/>
              <p:nvPr/>
            </p:nvSpPr>
            <p:spPr bwMode="auto">
              <a:xfrm>
                <a:off x="-1742986" y="9926897"/>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94" name="Freeform: Shape 881"/>
              <p:cNvSpPr>
                <a:spLocks/>
              </p:cNvSpPr>
              <p:nvPr/>
            </p:nvSpPr>
            <p:spPr bwMode="auto">
              <a:xfrm>
                <a:off x="-1719989" y="9953538"/>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27" name="Group 826"/>
            <p:cNvGrpSpPr/>
            <p:nvPr/>
          </p:nvGrpSpPr>
          <p:grpSpPr>
            <a:xfrm>
              <a:off x="4237648" y="10308208"/>
              <a:ext cx="940177" cy="479230"/>
              <a:chOff x="-1300629" y="10230194"/>
              <a:chExt cx="940177" cy="479230"/>
            </a:xfrm>
          </p:grpSpPr>
          <p:grpSp>
            <p:nvGrpSpPr>
              <p:cNvPr id="989" name="Group 988"/>
              <p:cNvGrpSpPr/>
              <p:nvPr/>
            </p:nvGrpSpPr>
            <p:grpSpPr>
              <a:xfrm flipH="1">
                <a:off x="-1300629" y="10230194"/>
                <a:ext cx="940177" cy="479230"/>
                <a:chOff x="6292744" y="2901950"/>
                <a:chExt cx="940177" cy="479230"/>
              </a:xfrm>
              <a:solidFill>
                <a:srgbClr val="D2E6FA"/>
              </a:solidFill>
            </p:grpSpPr>
            <p:sp>
              <p:nvSpPr>
                <p:cNvPr id="991" name="Rectangle: Rounded Corners 878"/>
                <p:cNvSpPr/>
                <p:nvPr/>
              </p:nvSpPr>
              <p:spPr bwMode="auto">
                <a:xfrm>
                  <a:off x="6316605" y="2901950"/>
                  <a:ext cx="916316" cy="479230"/>
                </a:xfrm>
                <a:prstGeom prst="roundRect">
                  <a:avLst>
                    <a:gd name="adj" fmla="val 6729"/>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92" name="Isosceles Triangle 879"/>
                <p:cNvSpPr/>
                <p:nvPr/>
              </p:nvSpPr>
              <p:spPr bwMode="auto">
                <a:xfrm rot="16200000">
                  <a:off x="6269884" y="312266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pic>
            <p:nvPicPr>
              <p:cNvPr id="990" name="Picture 98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67008" y="10274035"/>
                <a:ext cx="847788" cy="391549"/>
              </a:xfrm>
              <a:prstGeom prst="rect">
                <a:avLst/>
              </a:prstGeom>
            </p:spPr>
          </p:pic>
        </p:grpSp>
        <p:grpSp>
          <p:nvGrpSpPr>
            <p:cNvPr id="828" name="Group 827"/>
            <p:cNvGrpSpPr/>
            <p:nvPr/>
          </p:nvGrpSpPr>
          <p:grpSpPr>
            <a:xfrm>
              <a:off x="3935957" y="10886687"/>
              <a:ext cx="1386497" cy="292795"/>
              <a:chOff x="-1544321" y="10808673"/>
              <a:chExt cx="1386497" cy="292795"/>
            </a:xfrm>
          </p:grpSpPr>
          <p:grpSp>
            <p:nvGrpSpPr>
              <p:cNvPr id="985" name="Group 984"/>
              <p:cNvGrpSpPr/>
              <p:nvPr/>
            </p:nvGrpSpPr>
            <p:grpSpPr>
              <a:xfrm>
                <a:off x="-1544321" y="10808673"/>
                <a:ext cx="1372302" cy="292795"/>
                <a:chOff x="5501375" y="2827873"/>
                <a:chExt cx="1372302" cy="144757"/>
              </a:xfrm>
              <a:solidFill>
                <a:srgbClr val="FAFAFA"/>
              </a:solidFill>
            </p:grpSpPr>
            <p:sp>
              <p:nvSpPr>
                <p:cNvPr id="987" name="Rectangle: Rounded Corners 872"/>
                <p:cNvSpPr/>
                <p:nvPr/>
              </p:nvSpPr>
              <p:spPr bwMode="auto">
                <a:xfrm>
                  <a:off x="5526448" y="2827873"/>
                  <a:ext cx="1347229" cy="144757"/>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88" name="Isosceles Triangle 874"/>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86" name="Rectangle 985"/>
              <p:cNvSpPr/>
              <p:nvPr/>
            </p:nvSpPr>
            <p:spPr>
              <a:xfrm>
                <a:off x="-1476030" y="10856062"/>
                <a:ext cx="1318206" cy="188321"/>
              </a:xfrm>
              <a:prstGeom prst="rect">
                <a:avLst/>
              </a:prstGeom>
            </p:spPr>
            <p:txBody>
              <a:bodyPr wrap="square" lIns="0" tIns="0" rIns="0" bIns="0">
                <a:spAutoFit/>
              </a:bodyPr>
              <a:lstStyle/>
              <a:p>
                <a:pPr marL="0" lvl="1" defTabSz="1243431">
                  <a:defRPr/>
                </a:pPr>
                <a:r>
                  <a:rPr lang="en-US" sz="816" kern="0">
                    <a:solidFill>
                      <a:srgbClr val="505050"/>
                    </a:solidFill>
                    <a:latin typeface="Segoe UI"/>
                  </a:rPr>
                  <a:t>Congratulations on your new car! </a:t>
                </a:r>
                <a:br>
                  <a:rPr lang="en-US" sz="816" kern="0">
                    <a:solidFill>
                      <a:srgbClr val="505050"/>
                    </a:solidFill>
                    <a:latin typeface="Segoe UI"/>
                  </a:rPr>
                </a:br>
                <a:r>
                  <a:rPr lang="en-US" sz="816" kern="0">
                    <a:solidFill>
                      <a:srgbClr val="505050"/>
                    </a:solidFill>
                    <a:latin typeface="Segoe UI"/>
                  </a:rPr>
                  <a:t>Now generating quote…</a:t>
                </a:r>
                <a:endParaRPr lang="en-US" sz="816">
                  <a:solidFill>
                    <a:srgbClr val="505050"/>
                  </a:solidFill>
                  <a:latin typeface="Segoe UI"/>
                </a:endParaRPr>
              </a:p>
            </p:txBody>
          </p:sp>
        </p:grpSp>
        <p:grpSp>
          <p:nvGrpSpPr>
            <p:cNvPr id="829" name="Group 828"/>
            <p:cNvGrpSpPr/>
            <p:nvPr/>
          </p:nvGrpSpPr>
          <p:grpSpPr>
            <a:xfrm>
              <a:off x="3727767" y="10878362"/>
              <a:ext cx="182880" cy="182880"/>
              <a:chOff x="-1742986" y="10800348"/>
              <a:chExt cx="182880" cy="182880"/>
            </a:xfrm>
          </p:grpSpPr>
          <p:sp>
            <p:nvSpPr>
              <p:cNvPr id="983" name="Rectangle 982"/>
              <p:cNvSpPr/>
              <p:nvPr/>
            </p:nvSpPr>
            <p:spPr bwMode="auto">
              <a:xfrm>
                <a:off x="-1742986" y="10800348"/>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84" name="Freeform: Shape 868"/>
              <p:cNvSpPr>
                <a:spLocks/>
              </p:cNvSpPr>
              <p:nvPr/>
            </p:nvSpPr>
            <p:spPr bwMode="auto">
              <a:xfrm>
                <a:off x="-1719989" y="10826989"/>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30" name="Group 829"/>
            <p:cNvGrpSpPr/>
            <p:nvPr/>
          </p:nvGrpSpPr>
          <p:grpSpPr>
            <a:xfrm>
              <a:off x="3935957" y="11233052"/>
              <a:ext cx="1386497" cy="440207"/>
              <a:chOff x="-1544322" y="11155038"/>
              <a:chExt cx="1386497" cy="440207"/>
            </a:xfrm>
          </p:grpSpPr>
          <p:grpSp>
            <p:nvGrpSpPr>
              <p:cNvPr id="979" name="Group 978"/>
              <p:cNvGrpSpPr/>
              <p:nvPr/>
            </p:nvGrpSpPr>
            <p:grpSpPr>
              <a:xfrm>
                <a:off x="-1544322" y="11155038"/>
                <a:ext cx="1372302" cy="440207"/>
                <a:chOff x="5501375" y="2827873"/>
                <a:chExt cx="1372302" cy="217637"/>
              </a:xfrm>
              <a:solidFill>
                <a:srgbClr val="FAFAFA"/>
              </a:solidFill>
            </p:grpSpPr>
            <p:sp>
              <p:nvSpPr>
                <p:cNvPr id="981" name="Rectangle: Rounded Corners 863"/>
                <p:cNvSpPr/>
                <p:nvPr/>
              </p:nvSpPr>
              <p:spPr bwMode="auto">
                <a:xfrm>
                  <a:off x="5526448" y="2827873"/>
                  <a:ext cx="1347229" cy="217637"/>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82" name="Isosceles Triangle 864"/>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80" name="Rectangle 979"/>
              <p:cNvSpPr/>
              <p:nvPr/>
            </p:nvSpPr>
            <p:spPr>
              <a:xfrm>
                <a:off x="-1476031" y="11202425"/>
                <a:ext cx="1318206" cy="376642"/>
              </a:xfrm>
              <a:prstGeom prst="rect">
                <a:avLst/>
              </a:prstGeom>
            </p:spPr>
            <p:txBody>
              <a:bodyPr wrap="square" lIns="0" tIns="0" rIns="0" bIns="0">
                <a:spAutoFit/>
              </a:bodyPr>
              <a:lstStyle/>
              <a:p>
                <a:pPr marL="0" lvl="1" defTabSz="1243431">
                  <a:defRPr/>
                </a:pPr>
                <a:r>
                  <a:rPr lang="en-US" sz="816" kern="0">
                    <a:solidFill>
                      <a:srgbClr val="505050"/>
                    </a:solidFill>
                    <a:latin typeface="Segoe UI"/>
                  </a:rPr>
                  <a:t>We can provide comprehensive insurance for $124.49 a month. Would you like to proceed with enrolling in coverage?</a:t>
                </a:r>
                <a:endParaRPr lang="en-US" sz="816">
                  <a:solidFill>
                    <a:srgbClr val="505050"/>
                  </a:solidFill>
                  <a:latin typeface="Segoe UI"/>
                </a:endParaRPr>
              </a:p>
            </p:txBody>
          </p:sp>
        </p:grpSp>
        <p:grpSp>
          <p:nvGrpSpPr>
            <p:cNvPr id="831" name="Group 830"/>
            <p:cNvGrpSpPr/>
            <p:nvPr/>
          </p:nvGrpSpPr>
          <p:grpSpPr>
            <a:xfrm>
              <a:off x="3727767" y="11224725"/>
              <a:ext cx="182880" cy="182880"/>
              <a:chOff x="-1742987" y="11146711"/>
              <a:chExt cx="182880" cy="182880"/>
            </a:xfrm>
          </p:grpSpPr>
          <p:sp>
            <p:nvSpPr>
              <p:cNvPr id="977" name="Rectangle 976"/>
              <p:cNvSpPr/>
              <p:nvPr/>
            </p:nvSpPr>
            <p:spPr bwMode="auto">
              <a:xfrm>
                <a:off x="-1742987" y="11146711"/>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78" name="Freeform: Shape 859"/>
              <p:cNvSpPr>
                <a:spLocks/>
              </p:cNvSpPr>
              <p:nvPr/>
            </p:nvSpPr>
            <p:spPr bwMode="auto">
              <a:xfrm>
                <a:off x="-1719990" y="11173352"/>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32" name="Group 831"/>
            <p:cNvGrpSpPr/>
            <p:nvPr/>
          </p:nvGrpSpPr>
          <p:grpSpPr>
            <a:xfrm>
              <a:off x="4423768" y="11714891"/>
              <a:ext cx="754057" cy="150098"/>
              <a:chOff x="-1100175" y="11636877"/>
              <a:chExt cx="754057" cy="150098"/>
            </a:xfrm>
          </p:grpSpPr>
          <p:grpSp>
            <p:nvGrpSpPr>
              <p:cNvPr id="973" name="Group 972"/>
              <p:cNvGrpSpPr/>
              <p:nvPr/>
            </p:nvGrpSpPr>
            <p:grpSpPr>
              <a:xfrm flipH="1">
                <a:off x="-1100175" y="11636877"/>
                <a:ext cx="754057" cy="150098"/>
                <a:chOff x="6278410" y="2901950"/>
                <a:chExt cx="754057" cy="150098"/>
              </a:xfrm>
              <a:solidFill>
                <a:srgbClr val="D2E6FA"/>
              </a:solidFill>
            </p:grpSpPr>
            <p:sp>
              <p:nvSpPr>
                <p:cNvPr id="975" name="Rectangle: Rounded Corners 856"/>
                <p:cNvSpPr/>
                <p:nvPr/>
              </p:nvSpPr>
              <p:spPr bwMode="auto">
                <a:xfrm>
                  <a:off x="6304737" y="2901950"/>
                  <a:ext cx="727730" cy="150098"/>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76" name="Isosceles Triangle 857"/>
                <p:cNvSpPr/>
                <p:nvPr/>
              </p:nvSpPr>
              <p:spPr bwMode="auto">
                <a:xfrm rot="16200000">
                  <a:off x="6255550" y="2965251"/>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974" name="Rectangle 973"/>
              <p:cNvSpPr/>
              <p:nvPr/>
            </p:nvSpPr>
            <p:spPr>
              <a:xfrm flipH="1">
                <a:off x="-1095375" y="11665760"/>
                <a:ext cx="696726" cy="94160"/>
              </a:xfrm>
              <a:prstGeom prst="rect">
                <a:avLst/>
              </a:prstGeom>
            </p:spPr>
            <p:txBody>
              <a:bodyPr wrap="square" lIns="0" tIns="0" rIns="0" bIns="0">
                <a:spAutoFit/>
              </a:bodyPr>
              <a:lstStyle/>
              <a:p>
                <a:pPr marL="0" lvl="1" algn="r" defTabSz="1243431">
                  <a:defRPr/>
                </a:pPr>
                <a:r>
                  <a:rPr lang="en-US" sz="816">
                    <a:solidFill>
                      <a:srgbClr val="505050"/>
                    </a:solidFill>
                    <a:latin typeface="Segoe UI"/>
                  </a:rPr>
                  <a:t>No, I am unsatisfied</a:t>
                </a:r>
              </a:p>
            </p:txBody>
          </p:sp>
        </p:grpSp>
        <p:grpSp>
          <p:nvGrpSpPr>
            <p:cNvPr id="833" name="Group 832"/>
            <p:cNvGrpSpPr/>
            <p:nvPr/>
          </p:nvGrpSpPr>
          <p:grpSpPr>
            <a:xfrm>
              <a:off x="3935957" y="11932094"/>
              <a:ext cx="1414871" cy="347445"/>
              <a:chOff x="-1544323" y="11854080"/>
              <a:chExt cx="1414871" cy="347445"/>
            </a:xfrm>
          </p:grpSpPr>
          <p:grpSp>
            <p:nvGrpSpPr>
              <p:cNvPr id="969" name="Group 968"/>
              <p:cNvGrpSpPr/>
              <p:nvPr/>
            </p:nvGrpSpPr>
            <p:grpSpPr>
              <a:xfrm>
                <a:off x="-1544323" y="11854080"/>
                <a:ext cx="1372302" cy="347445"/>
                <a:chOff x="5501375" y="2827873"/>
                <a:chExt cx="1372302" cy="144757"/>
              </a:xfrm>
              <a:solidFill>
                <a:srgbClr val="FAFAFA"/>
              </a:solidFill>
            </p:grpSpPr>
            <p:sp>
              <p:nvSpPr>
                <p:cNvPr id="971" name="Rectangle: Rounded Corners 852"/>
                <p:cNvSpPr/>
                <p:nvPr/>
              </p:nvSpPr>
              <p:spPr bwMode="auto">
                <a:xfrm>
                  <a:off x="5526448" y="2827873"/>
                  <a:ext cx="1347229" cy="144757"/>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72" name="Isosceles Triangle 853"/>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70" name="Rectangle 969"/>
              <p:cNvSpPr/>
              <p:nvPr/>
            </p:nvSpPr>
            <p:spPr>
              <a:xfrm>
                <a:off x="-1476032" y="11901469"/>
                <a:ext cx="1346580" cy="282482"/>
              </a:xfrm>
              <a:prstGeom prst="rect">
                <a:avLst/>
              </a:prstGeom>
            </p:spPr>
            <p:txBody>
              <a:bodyPr wrap="square" lIns="0" tIns="0" rIns="0" bIns="0">
                <a:spAutoFit/>
              </a:bodyPr>
              <a:lstStyle/>
              <a:p>
                <a:pPr marL="0" lvl="1" defTabSz="1243431">
                  <a:defRPr/>
                </a:pPr>
                <a:r>
                  <a:rPr lang="en-US" sz="816" kern="0">
                    <a:solidFill>
                      <a:srgbClr val="505050"/>
                    </a:solidFill>
                    <a:latin typeface="Segoe UI"/>
                  </a:rPr>
                  <a:t>Ok, I’ll connect you with an agent</a:t>
                </a:r>
                <a:br>
                  <a:rPr lang="en-US" sz="816" kern="0">
                    <a:solidFill>
                      <a:srgbClr val="505050"/>
                    </a:solidFill>
                    <a:latin typeface="Segoe UI"/>
                  </a:rPr>
                </a:br>
                <a:r>
                  <a:rPr lang="en-US" sz="816" kern="0">
                    <a:solidFill>
                      <a:srgbClr val="505050"/>
                    </a:solidFill>
                    <a:latin typeface="Segoe UI"/>
                  </a:rPr>
                  <a:t>who can explain your coverage</a:t>
                </a:r>
                <a:br>
                  <a:rPr lang="en-US" sz="816" kern="0">
                    <a:solidFill>
                      <a:srgbClr val="505050"/>
                    </a:solidFill>
                    <a:latin typeface="Segoe UI"/>
                  </a:rPr>
                </a:br>
                <a:r>
                  <a:rPr lang="en-US" sz="816" kern="0">
                    <a:solidFill>
                      <a:srgbClr val="505050"/>
                    </a:solidFill>
                    <a:latin typeface="Segoe UI"/>
                  </a:rPr>
                  <a:t>options.</a:t>
                </a:r>
                <a:endParaRPr lang="en-US" sz="816">
                  <a:solidFill>
                    <a:srgbClr val="505050"/>
                  </a:solidFill>
                  <a:latin typeface="Segoe UI"/>
                </a:endParaRPr>
              </a:p>
            </p:txBody>
          </p:sp>
        </p:grpSp>
        <p:grpSp>
          <p:nvGrpSpPr>
            <p:cNvPr id="834" name="Group 833"/>
            <p:cNvGrpSpPr/>
            <p:nvPr/>
          </p:nvGrpSpPr>
          <p:grpSpPr>
            <a:xfrm>
              <a:off x="3727767" y="11923769"/>
              <a:ext cx="182880" cy="182880"/>
              <a:chOff x="-1742988" y="11845755"/>
              <a:chExt cx="182880" cy="182880"/>
            </a:xfrm>
          </p:grpSpPr>
          <p:sp>
            <p:nvSpPr>
              <p:cNvPr id="967" name="Rectangle 966"/>
              <p:cNvSpPr/>
              <p:nvPr/>
            </p:nvSpPr>
            <p:spPr bwMode="auto">
              <a:xfrm>
                <a:off x="-1742988" y="11845755"/>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68" name="Freeform: Shape 849"/>
              <p:cNvSpPr>
                <a:spLocks/>
              </p:cNvSpPr>
              <p:nvPr/>
            </p:nvSpPr>
            <p:spPr bwMode="auto">
              <a:xfrm>
                <a:off x="-1719991" y="11872396"/>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cxnSp>
          <p:nvCxnSpPr>
            <p:cNvPr id="835" name="Straight Connector 834"/>
            <p:cNvCxnSpPr/>
            <p:nvPr/>
          </p:nvCxnSpPr>
          <p:spPr>
            <a:xfrm>
              <a:off x="3814045" y="4556190"/>
              <a:ext cx="1510021" cy="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6" name="Rectangle 835"/>
            <p:cNvSpPr/>
            <p:nvPr/>
          </p:nvSpPr>
          <p:spPr bwMode="auto">
            <a:xfrm>
              <a:off x="4191506" y="4460940"/>
              <a:ext cx="755098" cy="1825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68006" fontAlgn="base">
                <a:spcBef>
                  <a:spcPct val="0"/>
                </a:spcBef>
                <a:spcAft>
                  <a:spcPct val="0"/>
                </a:spcAft>
                <a:defRPr/>
              </a:pPr>
              <a:r>
                <a:rPr lang="en-US" sz="544" b="1" err="1">
                  <a:solidFill>
                    <a:srgbClr val="505050"/>
                  </a:solidFill>
                  <a:latin typeface="Segoe UI"/>
                  <a:ea typeface="Segoe UI" pitchFamily="34" charset="0"/>
                  <a:cs typeface="Segoe UI" pitchFamily="34" charset="0"/>
                </a:rPr>
                <a:t>Litware</a:t>
              </a:r>
              <a:r>
                <a:rPr lang="en-US" sz="544" b="1">
                  <a:solidFill>
                    <a:srgbClr val="505050"/>
                  </a:solidFill>
                  <a:latin typeface="Segoe UI"/>
                  <a:ea typeface="Segoe UI" pitchFamily="34" charset="0"/>
                  <a:cs typeface="Segoe UI" pitchFamily="34" charset="0"/>
                </a:rPr>
                <a:t> Insurance Bot</a:t>
              </a:r>
            </a:p>
            <a:p>
              <a:pPr algn="ctr" defTabSz="1268006" fontAlgn="base">
                <a:spcBef>
                  <a:spcPct val="0"/>
                </a:spcBef>
                <a:spcAft>
                  <a:spcPct val="0"/>
                </a:spcAft>
                <a:defRPr/>
              </a:pPr>
              <a:r>
                <a:rPr lang="en-US" sz="544">
                  <a:solidFill>
                    <a:srgbClr val="505050"/>
                  </a:solidFill>
                  <a:latin typeface="Segoe UI"/>
                  <a:ea typeface="Segoe UI" pitchFamily="34" charset="0"/>
                  <a:cs typeface="Segoe UI" pitchFamily="34" charset="0"/>
                </a:rPr>
                <a:t>Has joined the conversation</a:t>
              </a:r>
            </a:p>
          </p:txBody>
        </p:sp>
        <p:grpSp>
          <p:nvGrpSpPr>
            <p:cNvPr id="837" name="Group 836"/>
            <p:cNvGrpSpPr/>
            <p:nvPr/>
          </p:nvGrpSpPr>
          <p:grpSpPr>
            <a:xfrm>
              <a:off x="3935957" y="4680623"/>
              <a:ext cx="1418862" cy="208247"/>
              <a:chOff x="-1503793" y="4602609"/>
              <a:chExt cx="1418862" cy="208247"/>
            </a:xfrm>
          </p:grpSpPr>
          <p:grpSp>
            <p:nvGrpSpPr>
              <p:cNvPr id="963" name="Group 962"/>
              <p:cNvGrpSpPr/>
              <p:nvPr/>
            </p:nvGrpSpPr>
            <p:grpSpPr>
              <a:xfrm>
                <a:off x="-1503793" y="4602609"/>
                <a:ext cx="1418862" cy="208247"/>
                <a:chOff x="5501376" y="2864796"/>
                <a:chExt cx="1418862" cy="144775"/>
              </a:xfrm>
              <a:solidFill>
                <a:srgbClr val="FAFAFA"/>
              </a:solidFill>
            </p:grpSpPr>
            <p:sp>
              <p:nvSpPr>
                <p:cNvPr id="965" name="Rectangle: Rounded Corners 846"/>
                <p:cNvSpPr/>
                <p:nvPr/>
              </p:nvSpPr>
              <p:spPr bwMode="auto">
                <a:xfrm>
                  <a:off x="5526448" y="2864796"/>
                  <a:ext cx="1393790" cy="144775"/>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66" name="Isosceles Triangle 847"/>
                <p:cNvSpPr/>
                <p:nvPr/>
              </p:nvSpPr>
              <p:spPr bwMode="auto">
                <a:xfrm rot="16200000">
                  <a:off x="5486738" y="2942738"/>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64" name="Rectangle 963"/>
              <p:cNvSpPr/>
              <p:nvPr/>
            </p:nvSpPr>
            <p:spPr>
              <a:xfrm>
                <a:off x="-1441526" y="4660566"/>
                <a:ext cx="1139107" cy="94160"/>
              </a:xfrm>
              <a:prstGeom prst="rect">
                <a:avLst/>
              </a:prstGeom>
            </p:spPr>
            <p:txBody>
              <a:bodyPr wrap="square" lIns="0" tIns="0" rIns="0" bIns="0">
                <a:spAutoFit/>
              </a:bodyPr>
              <a:lstStyle/>
              <a:p>
                <a:pPr marL="0" lvl="1" defTabSz="1243431">
                  <a:defRPr/>
                </a:pPr>
                <a:r>
                  <a:rPr lang="en-US" sz="816">
                    <a:solidFill>
                      <a:srgbClr val="505050"/>
                    </a:solidFill>
                    <a:latin typeface="Segoe UI"/>
                  </a:rPr>
                  <a:t>Hi! How can I help you today? </a:t>
                </a:r>
              </a:p>
            </p:txBody>
          </p:sp>
        </p:grpSp>
        <p:grpSp>
          <p:nvGrpSpPr>
            <p:cNvPr id="838" name="Group 837"/>
            <p:cNvGrpSpPr>
              <a:grpSpLocks noChangeAspect="1"/>
            </p:cNvGrpSpPr>
            <p:nvPr/>
          </p:nvGrpSpPr>
          <p:grpSpPr>
            <a:xfrm>
              <a:off x="3727767" y="4660221"/>
              <a:ext cx="182880" cy="203926"/>
              <a:chOff x="416385" y="2509503"/>
              <a:chExt cx="274178" cy="274178"/>
            </a:xfrm>
          </p:grpSpPr>
          <p:sp>
            <p:nvSpPr>
              <p:cNvPr id="961" name="Rectangle 960"/>
              <p:cNvSpPr/>
              <p:nvPr/>
            </p:nvSpPr>
            <p:spPr bwMode="auto">
              <a:xfrm>
                <a:off x="416385" y="2509503"/>
                <a:ext cx="274178" cy="2741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62" name="Freeform: Shape 843"/>
              <p:cNvSpPr>
                <a:spLocks/>
              </p:cNvSpPr>
              <p:nvPr/>
            </p:nvSpPr>
            <p:spPr bwMode="auto">
              <a:xfrm>
                <a:off x="450863" y="2549447"/>
                <a:ext cx="205223" cy="194296"/>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39" name="Group 838"/>
            <p:cNvGrpSpPr/>
            <p:nvPr/>
          </p:nvGrpSpPr>
          <p:grpSpPr>
            <a:xfrm>
              <a:off x="3935957" y="5168620"/>
              <a:ext cx="1414870" cy="256906"/>
              <a:chOff x="-1503793" y="5090606"/>
              <a:chExt cx="1414870" cy="256906"/>
            </a:xfrm>
          </p:grpSpPr>
          <p:grpSp>
            <p:nvGrpSpPr>
              <p:cNvPr id="957" name="Group 956"/>
              <p:cNvGrpSpPr/>
              <p:nvPr/>
            </p:nvGrpSpPr>
            <p:grpSpPr>
              <a:xfrm>
                <a:off x="-1503793" y="5090606"/>
                <a:ext cx="1414870" cy="256906"/>
                <a:chOff x="5501376" y="2868111"/>
                <a:chExt cx="1414870" cy="199158"/>
              </a:xfrm>
              <a:solidFill>
                <a:srgbClr val="FAFAFA"/>
              </a:solidFill>
            </p:grpSpPr>
            <p:sp>
              <p:nvSpPr>
                <p:cNvPr id="959" name="Rectangle: Rounded Corners 840"/>
                <p:cNvSpPr/>
                <p:nvPr/>
              </p:nvSpPr>
              <p:spPr bwMode="auto">
                <a:xfrm>
                  <a:off x="5526448" y="2868111"/>
                  <a:ext cx="1389798" cy="199158"/>
                </a:xfrm>
                <a:prstGeom prst="roundRect">
                  <a:avLst>
                    <a:gd name="adj" fmla="val 584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60" name="Isosceles Triangle 841"/>
                <p:cNvSpPr/>
                <p:nvPr/>
              </p:nvSpPr>
              <p:spPr bwMode="auto">
                <a:xfrm rot="16200000">
                  <a:off x="5486737" y="2950905"/>
                  <a:ext cx="56709"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58" name="Rectangle 957"/>
              <p:cNvSpPr/>
              <p:nvPr/>
            </p:nvSpPr>
            <p:spPr>
              <a:xfrm>
                <a:off x="-1441526" y="5126726"/>
                <a:ext cx="1334534" cy="188321"/>
              </a:xfrm>
              <a:prstGeom prst="rect">
                <a:avLst/>
              </a:prstGeom>
            </p:spPr>
            <p:txBody>
              <a:bodyPr wrap="square" lIns="0" tIns="0" rIns="0" bIns="0">
                <a:spAutoFit/>
              </a:bodyPr>
              <a:lstStyle/>
              <a:p>
                <a:pPr marL="0" lvl="1" defTabSz="1243431">
                  <a:defRPr/>
                </a:pPr>
                <a:r>
                  <a:rPr lang="en-US" sz="816" err="1">
                    <a:solidFill>
                      <a:srgbClr val="505050"/>
                    </a:solidFill>
                    <a:latin typeface="Segoe UI"/>
                  </a:rPr>
                  <a:t>Litware</a:t>
                </a:r>
                <a:r>
                  <a:rPr lang="en-US" sz="816">
                    <a:solidFill>
                      <a:srgbClr val="505050"/>
                    </a:solidFill>
                    <a:latin typeface="Segoe UI"/>
                  </a:rPr>
                  <a:t> has an office in Redmond, Washington.</a:t>
                </a:r>
              </a:p>
            </p:txBody>
          </p:sp>
        </p:grpSp>
        <p:grpSp>
          <p:nvGrpSpPr>
            <p:cNvPr id="840" name="Group 839"/>
            <p:cNvGrpSpPr>
              <a:grpSpLocks noChangeAspect="1"/>
            </p:cNvGrpSpPr>
            <p:nvPr/>
          </p:nvGrpSpPr>
          <p:grpSpPr>
            <a:xfrm>
              <a:off x="3727767" y="5153087"/>
              <a:ext cx="182880" cy="182880"/>
              <a:chOff x="416385" y="2509506"/>
              <a:chExt cx="274178" cy="274178"/>
            </a:xfrm>
          </p:grpSpPr>
          <p:sp>
            <p:nvSpPr>
              <p:cNvPr id="955" name="Rectangle 954"/>
              <p:cNvSpPr/>
              <p:nvPr/>
            </p:nvSpPr>
            <p:spPr bwMode="auto">
              <a:xfrm>
                <a:off x="416385" y="2509506"/>
                <a:ext cx="274178" cy="2741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56" name="Freeform: Shape 837"/>
              <p:cNvSpPr>
                <a:spLocks/>
              </p:cNvSpPr>
              <p:nvPr/>
            </p:nvSpPr>
            <p:spPr bwMode="auto">
              <a:xfrm>
                <a:off x="450863" y="2549447"/>
                <a:ext cx="205223" cy="194296"/>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41" name="Group 840"/>
            <p:cNvGrpSpPr/>
            <p:nvPr/>
          </p:nvGrpSpPr>
          <p:grpSpPr>
            <a:xfrm>
              <a:off x="3935957" y="5505250"/>
              <a:ext cx="1414871" cy="212903"/>
              <a:chOff x="-1503794" y="5427236"/>
              <a:chExt cx="1414871" cy="212903"/>
            </a:xfrm>
          </p:grpSpPr>
          <p:grpSp>
            <p:nvGrpSpPr>
              <p:cNvPr id="951" name="Group 950"/>
              <p:cNvGrpSpPr/>
              <p:nvPr/>
            </p:nvGrpSpPr>
            <p:grpSpPr>
              <a:xfrm>
                <a:off x="-1503794" y="5427236"/>
                <a:ext cx="1414871" cy="212903"/>
                <a:chOff x="5501375" y="2827873"/>
                <a:chExt cx="1414871" cy="105259"/>
              </a:xfrm>
              <a:solidFill>
                <a:srgbClr val="FAFAFA"/>
              </a:solidFill>
            </p:grpSpPr>
            <p:sp>
              <p:nvSpPr>
                <p:cNvPr id="953" name="Rectangle: Rounded Corners 834"/>
                <p:cNvSpPr/>
                <p:nvPr/>
              </p:nvSpPr>
              <p:spPr bwMode="auto">
                <a:xfrm>
                  <a:off x="5526448" y="2827873"/>
                  <a:ext cx="1389798" cy="105259"/>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54" name="Isosceles Triangle 835"/>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52" name="Rectangle 951"/>
              <p:cNvSpPr/>
              <p:nvPr/>
            </p:nvSpPr>
            <p:spPr>
              <a:xfrm>
                <a:off x="-1435503" y="5487521"/>
                <a:ext cx="1030330" cy="94160"/>
              </a:xfrm>
              <a:prstGeom prst="rect">
                <a:avLst/>
              </a:prstGeom>
            </p:spPr>
            <p:txBody>
              <a:bodyPr wrap="none" lIns="0" tIns="0" rIns="0" bIns="0">
                <a:spAutoFit/>
              </a:bodyPr>
              <a:lstStyle/>
              <a:p>
                <a:pPr marL="0" lvl="1" defTabSz="1243431">
                  <a:defRPr/>
                </a:pPr>
                <a:r>
                  <a:rPr lang="en-US" sz="816">
                    <a:solidFill>
                      <a:srgbClr val="505050"/>
                    </a:solidFill>
                    <a:latin typeface="Segoe UI"/>
                  </a:rPr>
                  <a:t>Can I help with anything else?</a:t>
                </a:r>
              </a:p>
            </p:txBody>
          </p:sp>
        </p:grpSp>
        <p:grpSp>
          <p:nvGrpSpPr>
            <p:cNvPr id="842" name="Group 841"/>
            <p:cNvGrpSpPr/>
            <p:nvPr/>
          </p:nvGrpSpPr>
          <p:grpSpPr>
            <a:xfrm>
              <a:off x="3727767" y="5521438"/>
              <a:ext cx="182880" cy="182880"/>
              <a:chOff x="-1742988" y="5443424"/>
              <a:chExt cx="182880" cy="182880"/>
            </a:xfrm>
          </p:grpSpPr>
          <p:sp>
            <p:nvSpPr>
              <p:cNvPr id="949" name="Rectangle 948"/>
              <p:cNvSpPr/>
              <p:nvPr/>
            </p:nvSpPr>
            <p:spPr bwMode="auto">
              <a:xfrm>
                <a:off x="-1742988" y="5443424"/>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50" name="Freeform: Shape 831"/>
              <p:cNvSpPr>
                <a:spLocks/>
              </p:cNvSpPr>
              <p:nvPr/>
            </p:nvSpPr>
            <p:spPr bwMode="auto">
              <a:xfrm>
                <a:off x="-1719991" y="5470065"/>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43" name="Group 842"/>
            <p:cNvGrpSpPr/>
            <p:nvPr/>
          </p:nvGrpSpPr>
          <p:grpSpPr>
            <a:xfrm>
              <a:off x="4237648" y="4949685"/>
              <a:ext cx="940177" cy="148019"/>
              <a:chOff x="-1233800" y="4871671"/>
              <a:chExt cx="940177" cy="148019"/>
            </a:xfrm>
          </p:grpSpPr>
          <p:grpSp>
            <p:nvGrpSpPr>
              <p:cNvPr id="945" name="Group 944"/>
              <p:cNvGrpSpPr/>
              <p:nvPr/>
            </p:nvGrpSpPr>
            <p:grpSpPr>
              <a:xfrm flipH="1">
                <a:off x="-1233800" y="4871671"/>
                <a:ext cx="940177" cy="148019"/>
                <a:chOff x="6292744" y="2901950"/>
                <a:chExt cx="940177" cy="148019"/>
              </a:xfrm>
              <a:solidFill>
                <a:srgbClr val="D2E6FA"/>
              </a:solidFill>
            </p:grpSpPr>
            <p:sp>
              <p:nvSpPr>
                <p:cNvPr id="947" name="Rectangle: Rounded Corners 828"/>
                <p:cNvSpPr/>
                <p:nvPr/>
              </p:nvSpPr>
              <p:spPr bwMode="auto">
                <a:xfrm>
                  <a:off x="6316605" y="2901950"/>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48" name="Isosceles Triangle 829"/>
                <p:cNvSpPr/>
                <p:nvPr/>
              </p:nvSpPr>
              <p:spPr bwMode="auto">
                <a:xfrm rot="16200000">
                  <a:off x="6269884" y="29622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946" name="Rectangle 945"/>
              <p:cNvSpPr/>
              <p:nvPr/>
            </p:nvSpPr>
            <p:spPr>
              <a:xfrm flipH="1">
                <a:off x="-1187538" y="4907208"/>
                <a:ext cx="833162" cy="94160"/>
              </a:xfrm>
              <a:prstGeom prst="rect">
                <a:avLst/>
              </a:prstGeom>
            </p:spPr>
            <p:txBody>
              <a:bodyPr wrap="none" lIns="0" tIns="0" rIns="0" bIns="0">
                <a:spAutoFit/>
              </a:bodyPr>
              <a:lstStyle/>
              <a:p>
                <a:pPr marL="0" lvl="1" algn="r" defTabSz="1243431">
                  <a:defRPr/>
                </a:pPr>
                <a:r>
                  <a:rPr lang="en-US" sz="816">
                    <a:solidFill>
                      <a:srgbClr val="505050"/>
                    </a:solidFill>
                    <a:latin typeface="Segoe UI"/>
                  </a:rPr>
                  <a:t>Where is </a:t>
                </a:r>
                <a:r>
                  <a:rPr lang="en-US" sz="816" err="1">
                    <a:solidFill>
                      <a:srgbClr val="505050"/>
                    </a:solidFill>
                    <a:latin typeface="Segoe UI"/>
                  </a:rPr>
                  <a:t>Litware</a:t>
                </a:r>
                <a:r>
                  <a:rPr lang="en-US" sz="816">
                    <a:solidFill>
                      <a:srgbClr val="505050"/>
                    </a:solidFill>
                    <a:latin typeface="Segoe UI"/>
                  </a:rPr>
                  <a:t> based?</a:t>
                </a:r>
              </a:p>
            </p:txBody>
          </p:sp>
        </p:grpSp>
        <p:grpSp>
          <p:nvGrpSpPr>
            <p:cNvPr id="844" name="Group 843"/>
            <p:cNvGrpSpPr/>
            <p:nvPr/>
          </p:nvGrpSpPr>
          <p:grpSpPr>
            <a:xfrm>
              <a:off x="4237648" y="5760462"/>
              <a:ext cx="940177" cy="148019"/>
              <a:chOff x="-1233800" y="5682448"/>
              <a:chExt cx="940177" cy="148019"/>
            </a:xfrm>
          </p:grpSpPr>
          <p:grpSp>
            <p:nvGrpSpPr>
              <p:cNvPr id="941" name="Group 940"/>
              <p:cNvGrpSpPr/>
              <p:nvPr/>
            </p:nvGrpSpPr>
            <p:grpSpPr>
              <a:xfrm flipH="1">
                <a:off x="-1233800" y="5682448"/>
                <a:ext cx="940177" cy="148019"/>
                <a:chOff x="6292744" y="2901950"/>
                <a:chExt cx="940177" cy="148019"/>
              </a:xfrm>
              <a:solidFill>
                <a:srgbClr val="D2E6FA"/>
              </a:solidFill>
            </p:grpSpPr>
            <p:sp>
              <p:nvSpPr>
                <p:cNvPr id="943" name="Rectangle: Rounded Corners 824"/>
                <p:cNvSpPr/>
                <p:nvPr/>
              </p:nvSpPr>
              <p:spPr bwMode="auto">
                <a:xfrm>
                  <a:off x="6316605" y="2901950"/>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44" name="Isosceles Triangle 825"/>
                <p:cNvSpPr/>
                <p:nvPr/>
              </p:nvSpPr>
              <p:spPr bwMode="auto">
                <a:xfrm rot="16200000">
                  <a:off x="6269884" y="29622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942" name="Rectangle 941"/>
              <p:cNvSpPr/>
              <p:nvPr/>
            </p:nvSpPr>
            <p:spPr>
              <a:xfrm flipH="1">
                <a:off x="-1164695" y="5710291"/>
                <a:ext cx="810319" cy="94160"/>
              </a:xfrm>
              <a:prstGeom prst="rect">
                <a:avLst/>
              </a:prstGeom>
            </p:spPr>
            <p:txBody>
              <a:bodyPr wrap="none" lIns="0" tIns="0" rIns="0" bIns="0">
                <a:spAutoFit/>
              </a:bodyPr>
              <a:lstStyle/>
              <a:p>
                <a:pPr marL="0" lvl="1" algn="r" defTabSz="1243431">
                  <a:defRPr/>
                </a:pPr>
                <a:r>
                  <a:rPr lang="en-US" sz="816">
                    <a:solidFill>
                      <a:srgbClr val="505050"/>
                    </a:solidFill>
                    <a:latin typeface="Segoe UI"/>
                  </a:rPr>
                  <a:t>I need to buy insurance</a:t>
                </a:r>
              </a:p>
            </p:txBody>
          </p:sp>
        </p:grpSp>
        <p:grpSp>
          <p:nvGrpSpPr>
            <p:cNvPr id="845" name="Group 844"/>
            <p:cNvGrpSpPr/>
            <p:nvPr/>
          </p:nvGrpSpPr>
          <p:grpSpPr>
            <a:xfrm>
              <a:off x="3727767" y="6008503"/>
              <a:ext cx="182880" cy="182880"/>
              <a:chOff x="-1742988" y="5930489"/>
              <a:chExt cx="182880" cy="182880"/>
            </a:xfrm>
          </p:grpSpPr>
          <p:sp>
            <p:nvSpPr>
              <p:cNvPr id="938" name="Rectangle 937"/>
              <p:cNvSpPr/>
              <p:nvPr/>
            </p:nvSpPr>
            <p:spPr>
              <a:xfrm>
                <a:off x="-1651580" y="5981906"/>
                <a:ext cx="49" cy="94160"/>
              </a:xfrm>
              <a:prstGeom prst="rect">
                <a:avLst/>
              </a:prstGeom>
            </p:spPr>
            <p:txBody>
              <a:bodyPr wrap="none" lIns="0" tIns="0" rIns="0" bIns="0">
                <a:spAutoFit/>
              </a:bodyPr>
              <a:lstStyle/>
              <a:p>
                <a:pPr marL="0" lvl="1" defTabSz="1243431">
                  <a:defRPr/>
                </a:pPr>
                <a:endParaRPr lang="en-US" sz="816">
                  <a:solidFill>
                    <a:srgbClr val="505050"/>
                  </a:solidFill>
                  <a:latin typeface="Segoe UI"/>
                </a:endParaRPr>
              </a:p>
            </p:txBody>
          </p:sp>
          <p:sp>
            <p:nvSpPr>
              <p:cNvPr id="939" name="Rectangle 938"/>
              <p:cNvSpPr/>
              <p:nvPr/>
            </p:nvSpPr>
            <p:spPr bwMode="auto">
              <a:xfrm>
                <a:off x="-1742988" y="5930489"/>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40" name="Freeform: Shape 821"/>
              <p:cNvSpPr>
                <a:spLocks/>
              </p:cNvSpPr>
              <p:nvPr/>
            </p:nvSpPr>
            <p:spPr bwMode="auto">
              <a:xfrm>
                <a:off x="-1719991" y="5957130"/>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46" name="Group 845"/>
            <p:cNvGrpSpPr/>
            <p:nvPr/>
          </p:nvGrpSpPr>
          <p:grpSpPr>
            <a:xfrm>
              <a:off x="3935957" y="5992315"/>
              <a:ext cx="1414871" cy="212903"/>
              <a:chOff x="-1524330" y="5914301"/>
              <a:chExt cx="1414871" cy="212903"/>
            </a:xfrm>
          </p:grpSpPr>
          <p:grpSp>
            <p:nvGrpSpPr>
              <p:cNvPr id="934" name="Group 933"/>
              <p:cNvGrpSpPr/>
              <p:nvPr/>
            </p:nvGrpSpPr>
            <p:grpSpPr>
              <a:xfrm>
                <a:off x="-1524330" y="5914301"/>
                <a:ext cx="1414871" cy="212903"/>
                <a:chOff x="5501375" y="2827873"/>
                <a:chExt cx="1414871" cy="105259"/>
              </a:xfrm>
              <a:solidFill>
                <a:srgbClr val="FAFAFA"/>
              </a:solidFill>
            </p:grpSpPr>
            <p:sp>
              <p:nvSpPr>
                <p:cNvPr id="936" name="Rectangle: Rounded Corners 817"/>
                <p:cNvSpPr/>
                <p:nvPr/>
              </p:nvSpPr>
              <p:spPr bwMode="auto">
                <a:xfrm>
                  <a:off x="5526448" y="2827873"/>
                  <a:ext cx="1389798" cy="105259"/>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37" name="Isosceles Triangle 818"/>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35" name="Rectangle 934"/>
              <p:cNvSpPr/>
              <p:nvPr/>
            </p:nvSpPr>
            <p:spPr>
              <a:xfrm>
                <a:off x="-1469326" y="5928419"/>
                <a:ext cx="1148300" cy="188320"/>
              </a:xfrm>
              <a:prstGeom prst="rect">
                <a:avLst/>
              </a:prstGeom>
            </p:spPr>
            <p:txBody>
              <a:bodyPr wrap="square" lIns="0" tIns="0" rIns="0" bIns="0">
                <a:spAutoFit/>
              </a:bodyPr>
              <a:lstStyle/>
              <a:p>
                <a:pPr marL="0" lvl="1" defTabSz="1243431">
                  <a:defRPr/>
                </a:pPr>
                <a:r>
                  <a:rPr lang="en-US" sz="816">
                    <a:solidFill>
                      <a:srgbClr val="505050"/>
                    </a:solidFill>
                    <a:latin typeface="Segoe UI"/>
                  </a:rPr>
                  <a:t>No problem! Are you an existing </a:t>
                </a:r>
                <a:br>
                  <a:rPr lang="en-US" sz="816">
                    <a:solidFill>
                      <a:srgbClr val="505050"/>
                    </a:solidFill>
                    <a:latin typeface="Segoe UI"/>
                  </a:rPr>
                </a:br>
                <a:r>
                  <a:rPr lang="en-US" sz="816">
                    <a:solidFill>
                      <a:srgbClr val="505050"/>
                    </a:solidFill>
                    <a:latin typeface="Segoe UI"/>
                  </a:rPr>
                  <a:t>customer?</a:t>
                </a:r>
              </a:p>
            </p:txBody>
          </p:sp>
        </p:grpSp>
        <p:grpSp>
          <p:nvGrpSpPr>
            <p:cNvPr id="847" name="Group 846"/>
            <p:cNvGrpSpPr/>
            <p:nvPr/>
          </p:nvGrpSpPr>
          <p:grpSpPr>
            <a:xfrm>
              <a:off x="4237648" y="6256895"/>
              <a:ext cx="940177" cy="148019"/>
              <a:chOff x="-1233107" y="6178881"/>
              <a:chExt cx="940177" cy="148019"/>
            </a:xfrm>
          </p:grpSpPr>
          <p:grpSp>
            <p:nvGrpSpPr>
              <p:cNvPr id="930" name="Group 929"/>
              <p:cNvGrpSpPr/>
              <p:nvPr/>
            </p:nvGrpSpPr>
            <p:grpSpPr>
              <a:xfrm flipH="1">
                <a:off x="-1233107" y="6178881"/>
                <a:ext cx="940177" cy="148019"/>
                <a:chOff x="6292744" y="2901950"/>
                <a:chExt cx="940177" cy="148019"/>
              </a:xfrm>
              <a:solidFill>
                <a:srgbClr val="D2E6FA"/>
              </a:solidFill>
            </p:grpSpPr>
            <p:sp>
              <p:nvSpPr>
                <p:cNvPr id="932" name="Rectangle: Rounded Corners 813"/>
                <p:cNvSpPr/>
                <p:nvPr/>
              </p:nvSpPr>
              <p:spPr bwMode="auto">
                <a:xfrm>
                  <a:off x="6316605" y="2901950"/>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33" name="Isosceles Triangle 814"/>
                <p:cNvSpPr/>
                <p:nvPr/>
              </p:nvSpPr>
              <p:spPr bwMode="auto">
                <a:xfrm rot="16200000">
                  <a:off x="6269884" y="29622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931" name="Rectangle 930"/>
              <p:cNvSpPr/>
              <p:nvPr/>
            </p:nvSpPr>
            <p:spPr>
              <a:xfrm flipH="1">
                <a:off x="-471504" y="6206724"/>
                <a:ext cx="117821" cy="94160"/>
              </a:xfrm>
              <a:prstGeom prst="rect">
                <a:avLst/>
              </a:prstGeom>
            </p:spPr>
            <p:txBody>
              <a:bodyPr wrap="none" lIns="0" tIns="0" rIns="0" bIns="0">
                <a:spAutoFit/>
              </a:bodyPr>
              <a:lstStyle/>
              <a:p>
                <a:pPr marL="0" lvl="1" algn="r" defTabSz="1243431">
                  <a:defRPr/>
                </a:pPr>
                <a:r>
                  <a:rPr lang="en-US" sz="816">
                    <a:solidFill>
                      <a:srgbClr val="505050"/>
                    </a:solidFill>
                    <a:latin typeface="Segoe UI"/>
                  </a:rPr>
                  <a:t>Yes</a:t>
                </a:r>
              </a:p>
            </p:txBody>
          </p:sp>
        </p:grpSp>
        <p:grpSp>
          <p:nvGrpSpPr>
            <p:cNvPr id="848" name="Group 847"/>
            <p:cNvGrpSpPr/>
            <p:nvPr/>
          </p:nvGrpSpPr>
          <p:grpSpPr>
            <a:xfrm>
              <a:off x="3727767" y="6495324"/>
              <a:ext cx="182880" cy="182880"/>
              <a:chOff x="-1742988" y="6417310"/>
              <a:chExt cx="182880" cy="182880"/>
            </a:xfrm>
          </p:grpSpPr>
          <p:sp>
            <p:nvSpPr>
              <p:cNvPr id="927" name="Rectangle 926"/>
              <p:cNvSpPr/>
              <p:nvPr/>
            </p:nvSpPr>
            <p:spPr>
              <a:xfrm>
                <a:off x="-1651580" y="6478058"/>
                <a:ext cx="49" cy="94160"/>
              </a:xfrm>
              <a:prstGeom prst="rect">
                <a:avLst/>
              </a:prstGeom>
            </p:spPr>
            <p:txBody>
              <a:bodyPr wrap="none" lIns="0" tIns="0" rIns="0" bIns="0">
                <a:spAutoFit/>
              </a:bodyPr>
              <a:lstStyle/>
              <a:p>
                <a:pPr marL="0" lvl="1" defTabSz="1243431">
                  <a:defRPr/>
                </a:pPr>
                <a:endParaRPr lang="en-US" sz="816">
                  <a:solidFill>
                    <a:srgbClr val="505050"/>
                  </a:solidFill>
                  <a:latin typeface="Segoe UI"/>
                </a:endParaRPr>
              </a:p>
            </p:txBody>
          </p:sp>
          <p:sp>
            <p:nvSpPr>
              <p:cNvPr id="928" name="Rectangle 927"/>
              <p:cNvSpPr/>
              <p:nvPr/>
            </p:nvSpPr>
            <p:spPr bwMode="auto">
              <a:xfrm>
                <a:off x="-1742988" y="6417310"/>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29" name="Freeform: Shape 810"/>
              <p:cNvSpPr>
                <a:spLocks/>
              </p:cNvSpPr>
              <p:nvPr/>
            </p:nvSpPr>
            <p:spPr bwMode="auto">
              <a:xfrm>
                <a:off x="-1719991" y="6443951"/>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49" name="Group 848"/>
            <p:cNvGrpSpPr/>
            <p:nvPr/>
          </p:nvGrpSpPr>
          <p:grpSpPr>
            <a:xfrm>
              <a:off x="3935957" y="6488467"/>
              <a:ext cx="1414871" cy="212903"/>
              <a:chOff x="-1537618" y="6410453"/>
              <a:chExt cx="1414871" cy="212903"/>
            </a:xfrm>
          </p:grpSpPr>
          <p:grpSp>
            <p:nvGrpSpPr>
              <p:cNvPr id="923" name="Group 922"/>
              <p:cNvGrpSpPr/>
              <p:nvPr/>
            </p:nvGrpSpPr>
            <p:grpSpPr>
              <a:xfrm>
                <a:off x="-1537618" y="6410453"/>
                <a:ext cx="1414871" cy="212903"/>
                <a:chOff x="5501375" y="2827873"/>
                <a:chExt cx="1414871" cy="105259"/>
              </a:xfrm>
              <a:solidFill>
                <a:srgbClr val="FAFAFA"/>
              </a:solidFill>
            </p:grpSpPr>
            <p:sp>
              <p:nvSpPr>
                <p:cNvPr id="925" name="Rectangle: Rounded Corners 806"/>
                <p:cNvSpPr/>
                <p:nvPr/>
              </p:nvSpPr>
              <p:spPr bwMode="auto">
                <a:xfrm>
                  <a:off x="5526448" y="2827873"/>
                  <a:ext cx="1389798" cy="105259"/>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26" name="Isosceles Triangle 807"/>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24" name="Rectangle 923"/>
              <p:cNvSpPr/>
              <p:nvPr/>
            </p:nvSpPr>
            <p:spPr>
              <a:xfrm>
                <a:off x="-1469326" y="6470738"/>
                <a:ext cx="688844" cy="94160"/>
              </a:xfrm>
              <a:prstGeom prst="rect">
                <a:avLst/>
              </a:prstGeom>
            </p:spPr>
            <p:txBody>
              <a:bodyPr wrap="square" lIns="0" tIns="0" rIns="0" bIns="0">
                <a:spAutoFit/>
              </a:bodyPr>
              <a:lstStyle/>
              <a:p>
                <a:pPr marL="0" lvl="1" defTabSz="1243431">
                  <a:defRPr/>
                </a:pPr>
                <a:r>
                  <a:rPr lang="en-US" sz="816" kern="0">
                    <a:solidFill>
                      <a:srgbClr val="505050"/>
                    </a:solidFill>
                    <a:latin typeface="Segoe UI"/>
                  </a:rPr>
                  <a:t>What is your name?</a:t>
                </a:r>
                <a:endParaRPr lang="en-US" sz="816">
                  <a:solidFill>
                    <a:srgbClr val="505050"/>
                  </a:solidFill>
                  <a:latin typeface="Segoe UI"/>
                </a:endParaRPr>
              </a:p>
            </p:txBody>
          </p:sp>
        </p:grpSp>
        <p:grpSp>
          <p:nvGrpSpPr>
            <p:cNvPr id="850" name="Group 849"/>
            <p:cNvGrpSpPr/>
            <p:nvPr/>
          </p:nvGrpSpPr>
          <p:grpSpPr>
            <a:xfrm>
              <a:off x="4237648" y="6782715"/>
              <a:ext cx="940177" cy="148019"/>
              <a:chOff x="-1258863" y="6704701"/>
              <a:chExt cx="940177" cy="148019"/>
            </a:xfrm>
          </p:grpSpPr>
          <p:grpSp>
            <p:nvGrpSpPr>
              <p:cNvPr id="919" name="Group 918"/>
              <p:cNvGrpSpPr/>
              <p:nvPr/>
            </p:nvGrpSpPr>
            <p:grpSpPr>
              <a:xfrm flipH="1">
                <a:off x="-1258863" y="6704701"/>
                <a:ext cx="940177" cy="148019"/>
                <a:chOff x="6292744" y="2901950"/>
                <a:chExt cx="940177" cy="148019"/>
              </a:xfrm>
              <a:solidFill>
                <a:srgbClr val="D2E6FA"/>
              </a:solidFill>
            </p:grpSpPr>
            <p:sp>
              <p:nvSpPr>
                <p:cNvPr id="921" name="Rectangle: Rounded Corners 802"/>
                <p:cNvSpPr/>
                <p:nvPr/>
              </p:nvSpPr>
              <p:spPr bwMode="auto">
                <a:xfrm>
                  <a:off x="6316605" y="2901950"/>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22" name="Isosceles Triangle 803"/>
                <p:cNvSpPr/>
                <p:nvPr/>
              </p:nvSpPr>
              <p:spPr bwMode="auto">
                <a:xfrm rot="16200000">
                  <a:off x="6269884" y="29622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920" name="Rectangle 919"/>
              <p:cNvSpPr/>
              <p:nvPr/>
            </p:nvSpPr>
            <p:spPr>
              <a:xfrm flipH="1">
                <a:off x="-805036" y="6732544"/>
                <a:ext cx="425597" cy="94160"/>
              </a:xfrm>
              <a:prstGeom prst="rect">
                <a:avLst/>
              </a:prstGeom>
            </p:spPr>
            <p:txBody>
              <a:bodyPr wrap="none" lIns="0" tIns="0" rIns="0" bIns="0">
                <a:spAutoFit/>
              </a:bodyPr>
              <a:lstStyle/>
              <a:p>
                <a:pPr marL="0" lvl="1" algn="r" defTabSz="1243431">
                  <a:defRPr/>
                </a:pPr>
                <a:r>
                  <a:rPr lang="en-US" sz="816" kern="0">
                    <a:solidFill>
                      <a:srgbClr val="505050"/>
                    </a:solidFill>
                    <a:latin typeface="Segoe UI"/>
                  </a:rPr>
                  <a:t>Shelly Smith</a:t>
                </a:r>
                <a:endParaRPr lang="en-US" sz="816">
                  <a:solidFill>
                    <a:srgbClr val="505050"/>
                  </a:solidFill>
                  <a:latin typeface="Segoe UI"/>
                </a:endParaRPr>
              </a:p>
            </p:txBody>
          </p:sp>
        </p:grpSp>
        <p:grpSp>
          <p:nvGrpSpPr>
            <p:cNvPr id="851" name="Group 850"/>
            <p:cNvGrpSpPr/>
            <p:nvPr/>
          </p:nvGrpSpPr>
          <p:grpSpPr>
            <a:xfrm>
              <a:off x="3727767" y="6993182"/>
              <a:ext cx="182880" cy="182880"/>
              <a:chOff x="-1742988" y="6915168"/>
              <a:chExt cx="182880" cy="182880"/>
            </a:xfrm>
          </p:grpSpPr>
          <p:sp>
            <p:nvSpPr>
              <p:cNvPr id="916" name="Rectangle 915"/>
              <p:cNvSpPr/>
              <p:nvPr/>
            </p:nvSpPr>
            <p:spPr>
              <a:xfrm>
                <a:off x="-1651580" y="6975916"/>
                <a:ext cx="49" cy="94160"/>
              </a:xfrm>
              <a:prstGeom prst="rect">
                <a:avLst/>
              </a:prstGeom>
            </p:spPr>
            <p:txBody>
              <a:bodyPr wrap="none" lIns="0" tIns="0" rIns="0" bIns="0">
                <a:spAutoFit/>
              </a:bodyPr>
              <a:lstStyle/>
              <a:p>
                <a:pPr marL="0" lvl="1" defTabSz="1243431">
                  <a:defRPr/>
                </a:pPr>
                <a:endParaRPr lang="en-US" sz="816">
                  <a:solidFill>
                    <a:srgbClr val="505050"/>
                  </a:solidFill>
                  <a:latin typeface="Segoe UI"/>
                </a:endParaRPr>
              </a:p>
            </p:txBody>
          </p:sp>
          <p:sp>
            <p:nvSpPr>
              <p:cNvPr id="917" name="Rectangle 916"/>
              <p:cNvSpPr/>
              <p:nvPr/>
            </p:nvSpPr>
            <p:spPr bwMode="auto">
              <a:xfrm>
                <a:off x="-1742988" y="6915168"/>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18" name="Freeform: Shape 799"/>
              <p:cNvSpPr>
                <a:spLocks/>
              </p:cNvSpPr>
              <p:nvPr/>
            </p:nvSpPr>
            <p:spPr bwMode="auto">
              <a:xfrm>
                <a:off x="-1719991" y="6941809"/>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52" name="Group 851"/>
            <p:cNvGrpSpPr/>
            <p:nvPr/>
          </p:nvGrpSpPr>
          <p:grpSpPr>
            <a:xfrm>
              <a:off x="3935957" y="6986330"/>
              <a:ext cx="1414871" cy="233059"/>
              <a:chOff x="-1544323" y="6908316"/>
              <a:chExt cx="1414871" cy="233059"/>
            </a:xfrm>
          </p:grpSpPr>
          <p:grpSp>
            <p:nvGrpSpPr>
              <p:cNvPr id="912" name="Group 911"/>
              <p:cNvGrpSpPr/>
              <p:nvPr/>
            </p:nvGrpSpPr>
            <p:grpSpPr>
              <a:xfrm>
                <a:off x="-1544323" y="6908316"/>
                <a:ext cx="1414871" cy="233059"/>
                <a:chOff x="5501375" y="2827873"/>
                <a:chExt cx="1414871" cy="115224"/>
              </a:xfrm>
              <a:solidFill>
                <a:srgbClr val="FAFAFA"/>
              </a:solidFill>
            </p:grpSpPr>
            <p:sp>
              <p:nvSpPr>
                <p:cNvPr id="914" name="Rectangle: Rounded Corners 795"/>
                <p:cNvSpPr/>
                <p:nvPr/>
              </p:nvSpPr>
              <p:spPr bwMode="auto">
                <a:xfrm>
                  <a:off x="5526448" y="2827873"/>
                  <a:ext cx="1389798" cy="115224"/>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15" name="Isosceles Triangle 796"/>
                <p:cNvSpPr/>
                <p:nvPr/>
              </p:nvSpPr>
              <p:spPr bwMode="auto">
                <a:xfrm rot="16200000">
                  <a:off x="5486737" y="2868797"/>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13" name="Rectangle 912"/>
              <p:cNvSpPr/>
              <p:nvPr/>
            </p:nvSpPr>
            <p:spPr>
              <a:xfrm>
                <a:off x="-1464354" y="6932512"/>
                <a:ext cx="1154162" cy="188321"/>
              </a:xfrm>
              <a:prstGeom prst="rect">
                <a:avLst/>
              </a:prstGeom>
            </p:spPr>
            <p:txBody>
              <a:bodyPr wrap="none" lIns="0" tIns="0" rIns="0" bIns="0">
                <a:spAutoFit/>
              </a:bodyPr>
              <a:lstStyle/>
              <a:p>
                <a:pPr marL="0" lvl="1" defTabSz="1243431">
                  <a:defRPr/>
                </a:pPr>
                <a:r>
                  <a:rPr lang="en-US" sz="816" kern="0">
                    <a:solidFill>
                      <a:srgbClr val="505050"/>
                    </a:solidFill>
                    <a:latin typeface="Segoe UI"/>
                  </a:rPr>
                  <a:t>What are the last 4 digits of your </a:t>
                </a:r>
                <a:br>
                  <a:rPr lang="en-US" sz="816" kern="0">
                    <a:solidFill>
                      <a:srgbClr val="505050"/>
                    </a:solidFill>
                    <a:latin typeface="Segoe UI"/>
                  </a:rPr>
                </a:br>
                <a:r>
                  <a:rPr lang="en-US" sz="816" kern="0">
                    <a:solidFill>
                      <a:srgbClr val="505050"/>
                    </a:solidFill>
                    <a:latin typeface="Segoe UI"/>
                  </a:rPr>
                  <a:t>social security number?</a:t>
                </a:r>
                <a:endParaRPr lang="en-US" sz="816">
                  <a:solidFill>
                    <a:srgbClr val="505050"/>
                  </a:solidFill>
                  <a:latin typeface="Segoe UI"/>
                </a:endParaRPr>
              </a:p>
            </p:txBody>
          </p:sp>
        </p:grpSp>
        <p:grpSp>
          <p:nvGrpSpPr>
            <p:cNvPr id="853" name="Group 852"/>
            <p:cNvGrpSpPr/>
            <p:nvPr/>
          </p:nvGrpSpPr>
          <p:grpSpPr>
            <a:xfrm>
              <a:off x="4237648" y="7260447"/>
              <a:ext cx="940177" cy="148019"/>
              <a:chOff x="-1251869" y="7182433"/>
              <a:chExt cx="940177" cy="148019"/>
            </a:xfrm>
          </p:grpSpPr>
          <p:grpSp>
            <p:nvGrpSpPr>
              <p:cNvPr id="908" name="Group 907"/>
              <p:cNvGrpSpPr/>
              <p:nvPr/>
            </p:nvGrpSpPr>
            <p:grpSpPr>
              <a:xfrm flipH="1">
                <a:off x="-1251869" y="7182433"/>
                <a:ext cx="940177" cy="148019"/>
                <a:chOff x="6292744" y="2901950"/>
                <a:chExt cx="940177" cy="148019"/>
              </a:xfrm>
              <a:solidFill>
                <a:srgbClr val="D2E6FA"/>
              </a:solidFill>
            </p:grpSpPr>
            <p:sp>
              <p:nvSpPr>
                <p:cNvPr id="910" name="Rectangle: Rounded Corners 791"/>
                <p:cNvSpPr/>
                <p:nvPr/>
              </p:nvSpPr>
              <p:spPr bwMode="auto">
                <a:xfrm>
                  <a:off x="6316605" y="2901950"/>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11" name="Isosceles Triangle 792"/>
                <p:cNvSpPr/>
                <p:nvPr/>
              </p:nvSpPr>
              <p:spPr bwMode="auto">
                <a:xfrm rot="16200000">
                  <a:off x="6269884" y="29622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909" name="Rectangle 908"/>
              <p:cNvSpPr/>
              <p:nvPr/>
            </p:nvSpPr>
            <p:spPr>
              <a:xfrm flipH="1">
                <a:off x="-540760" y="7210276"/>
                <a:ext cx="168315" cy="94160"/>
              </a:xfrm>
              <a:prstGeom prst="rect">
                <a:avLst/>
              </a:prstGeom>
            </p:spPr>
            <p:txBody>
              <a:bodyPr wrap="none" lIns="0" tIns="0" rIns="0" bIns="0">
                <a:spAutoFit/>
              </a:bodyPr>
              <a:lstStyle/>
              <a:p>
                <a:pPr marL="0" lvl="1" algn="r" defTabSz="1243431">
                  <a:defRPr/>
                </a:pPr>
                <a:r>
                  <a:rPr lang="en-US" sz="816">
                    <a:solidFill>
                      <a:srgbClr val="505050"/>
                    </a:solidFill>
                    <a:latin typeface="Segoe UI"/>
                  </a:rPr>
                  <a:t>1234</a:t>
                </a:r>
              </a:p>
            </p:txBody>
          </p:sp>
        </p:grpSp>
        <p:grpSp>
          <p:nvGrpSpPr>
            <p:cNvPr id="854" name="Group 853"/>
            <p:cNvGrpSpPr/>
            <p:nvPr/>
          </p:nvGrpSpPr>
          <p:grpSpPr>
            <a:xfrm>
              <a:off x="3935957" y="7505235"/>
              <a:ext cx="1372301" cy="342797"/>
              <a:chOff x="-1503793" y="7427221"/>
              <a:chExt cx="1372301" cy="342797"/>
            </a:xfrm>
          </p:grpSpPr>
          <p:grpSp>
            <p:nvGrpSpPr>
              <p:cNvPr id="904" name="Group 903"/>
              <p:cNvGrpSpPr/>
              <p:nvPr/>
            </p:nvGrpSpPr>
            <p:grpSpPr>
              <a:xfrm>
                <a:off x="-1503793" y="7427221"/>
                <a:ext cx="1372301" cy="342797"/>
                <a:chOff x="5501376" y="2729047"/>
                <a:chExt cx="1372301" cy="238315"/>
              </a:xfrm>
              <a:solidFill>
                <a:srgbClr val="FAFAFA"/>
              </a:solidFill>
            </p:grpSpPr>
            <p:sp>
              <p:nvSpPr>
                <p:cNvPr id="906" name="Rectangle: Rounded Corners 787"/>
                <p:cNvSpPr/>
                <p:nvPr/>
              </p:nvSpPr>
              <p:spPr bwMode="auto">
                <a:xfrm>
                  <a:off x="5526448" y="2729047"/>
                  <a:ext cx="1347229" cy="238315"/>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07" name="Isosceles Triangle 788"/>
                <p:cNvSpPr/>
                <p:nvPr/>
              </p:nvSpPr>
              <p:spPr bwMode="auto">
                <a:xfrm rot="16200000">
                  <a:off x="5486738" y="2806990"/>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905" name="Rectangle 904"/>
              <p:cNvSpPr/>
              <p:nvPr/>
            </p:nvSpPr>
            <p:spPr>
              <a:xfrm>
                <a:off x="-1441526" y="7460120"/>
                <a:ext cx="1310034" cy="282481"/>
              </a:xfrm>
              <a:prstGeom prst="rect">
                <a:avLst/>
              </a:prstGeom>
            </p:spPr>
            <p:txBody>
              <a:bodyPr wrap="square" lIns="0" tIns="0" rIns="0" bIns="0">
                <a:spAutoFit/>
              </a:bodyPr>
              <a:lstStyle/>
              <a:p>
                <a:pPr marL="0" lvl="1" defTabSz="1243431">
                  <a:defRPr/>
                </a:pPr>
                <a:r>
                  <a:rPr lang="en-US" sz="816" kern="0">
                    <a:solidFill>
                      <a:srgbClr val="505050"/>
                    </a:solidFill>
                    <a:latin typeface="Segoe UI"/>
                  </a:rPr>
                  <a:t>I’ve found your existing policies. If you insure your new car with us, you’ll get a 10% multi-policy discount. </a:t>
                </a:r>
              </a:p>
            </p:txBody>
          </p:sp>
        </p:grpSp>
        <p:grpSp>
          <p:nvGrpSpPr>
            <p:cNvPr id="855" name="Group 854"/>
            <p:cNvGrpSpPr>
              <a:grpSpLocks noChangeAspect="1"/>
            </p:cNvGrpSpPr>
            <p:nvPr/>
          </p:nvGrpSpPr>
          <p:grpSpPr>
            <a:xfrm>
              <a:off x="3727767" y="7484840"/>
              <a:ext cx="182880" cy="203927"/>
              <a:chOff x="416385" y="2246972"/>
              <a:chExt cx="274178" cy="274178"/>
            </a:xfrm>
          </p:grpSpPr>
          <p:sp>
            <p:nvSpPr>
              <p:cNvPr id="902" name="Rectangle 901"/>
              <p:cNvSpPr/>
              <p:nvPr/>
            </p:nvSpPr>
            <p:spPr bwMode="auto">
              <a:xfrm>
                <a:off x="416385" y="2246972"/>
                <a:ext cx="274178" cy="2741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03" name="Freeform: Shape 784"/>
              <p:cNvSpPr>
                <a:spLocks/>
              </p:cNvSpPr>
              <p:nvPr/>
            </p:nvSpPr>
            <p:spPr bwMode="auto">
              <a:xfrm>
                <a:off x="450863" y="2286917"/>
                <a:ext cx="205223" cy="194296"/>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56" name="Group 855"/>
            <p:cNvGrpSpPr/>
            <p:nvPr/>
          </p:nvGrpSpPr>
          <p:grpSpPr>
            <a:xfrm>
              <a:off x="3935957" y="7896479"/>
              <a:ext cx="1396802" cy="449012"/>
              <a:chOff x="-1503794" y="7818465"/>
              <a:chExt cx="1396802" cy="449012"/>
            </a:xfrm>
          </p:grpSpPr>
          <p:sp>
            <p:nvSpPr>
              <p:cNvPr id="897" name="Rectangle 896"/>
              <p:cNvSpPr/>
              <p:nvPr/>
            </p:nvSpPr>
            <p:spPr>
              <a:xfrm>
                <a:off x="-1441526" y="8137862"/>
                <a:ext cx="1334534" cy="94160"/>
              </a:xfrm>
              <a:prstGeom prst="rect">
                <a:avLst/>
              </a:prstGeom>
            </p:spPr>
            <p:txBody>
              <a:bodyPr wrap="square" lIns="0" tIns="0" rIns="0" bIns="0">
                <a:spAutoFit/>
              </a:bodyPr>
              <a:lstStyle/>
              <a:p>
                <a:pPr marL="0" lvl="1" defTabSz="1243431">
                  <a:defRPr/>
                </a:pPr>
                <a:endParaRPr lang="en-US" sz="816">
                  <a:solidFill>
                    <a:srgbClr val="505050"/>
                  </a:solidFill>
                  <a:latin typeface="Segoe UI"/>
                </a:endParaRPr>
              </a:p>
            </p:txBody>
          </p:sp>
          <p:grpSp>
            <p:nvGrpSpPr>
              <p:cNvPr id="898" name="Group 897"/>
              <p:cNvGrpSpPr/>
              <p:nvPr/>
            </p:nvGrpSpPr>
            <p:grpSpPr>
              <a:xfrm>
                <a:off x="-1503794" y="7818465"/>
                <a:ext cx="1372302" cy="449012"/>
                <a:chOff x="5501375" y="2517069"/>
                <a:chExt cx="1372302" cy="221991"/>
              </a:xfrm>
              <a:solidFill>
                <a:srgbClr val="FAFAFA"/>
              </a:solidFill>
            </p:grpSpPr>
            <p:sp>
              <p:nvSpPr>
                <p:cNvPr id="900" name="Rectangle: Rounded Corners 781"/>
                <p:cNvSpPr/>
                <p:nvPr/>
              </p:nvSpPr>
              <p:spPr bwMode="auto">
                <a:xfrm>
                  <a:off x="5526448" y="2517069"/>
                  <a:ext cx="1347229" cy="221991"/>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901" name="Isosceles Triangle 782"/>
                <p:cNvSpPr/>
                <p:nvPr/>
              </p:nvSpPr>
              <p:spPr bwMode="auto">
                <a:xfrm rot="16200000">
                  <a:off x="5486737" y="2557993"/>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899" name="Rectangle 898"/>
              <p:cNvSpPr/>
              <p:nvPr/>
            </p:nvSpPr>
            <p:spPr>
              <a:xfrm>
                <a:off x="-1435503" y="7858305"/>
                <a:ext cx="1315264" cy="376642"/>
              </a:xfrm>
              <a:prstGeom prst="rect">
                <a:avLst/>
              </a:prstGeom>
            </p:spPr>
            <p:txBody>
              <a:bodyPr wrap="none" lIns="0" tIns="0" rIns="0" bIns="0">
                <a:spAutoFit/>
              </a:bodyPr>
              <a:lstStyle/>
              <a:p>
                <a:pPr marL="0" lvl="1" defTabSz="1243431">
                  <a:defRPr/>
                </a:pPr>
                <a:r>
                  <a:rPr lang="en-US" sz="816">
                    <a:solidFill>
                      <a:srgbClr val="505050"/>
                    </a:solidFill>
                    <a:latin typeface="Segoe UI"/>
                  </a:rPr>
                  <a:t>I can also see that your daughter on </a:t>
                </a:r>
                <a:br>
                  <a:rPr lang="en-US" sz="816">
                    <a:solidFill>
                      <a:srgbClr val="505050"/>
                    </a:solidFill>
                    <a:latin typeface="Segoe UI"/>
                  </a:rPr>
                </a:br>
                <a:r>
                  <a:rPr lang="en-US" sz="816">
                    <a:solidFill>
                      <a:srgbClr val="505050"/>
                    </a:solidFill>
                    <a:latin typeface="Segoe UI"/>
                  </a:rPr>
                  <a:t>your other policy just turned 16 years </a:t>
                </a:r>
                <a:br>
                  <a:rPr lang="en-US" sz="816">
                    <a:solidFill>
                      <a:srgbClr val="505050"/>
                    </a:solidFill>
                    <a:latin typeface="Segoe UI"/>
                  </a:rPr>
                </a:br>
                <a:r>
                  <a:rPr lang="en-US" sz="816">
                    <a:solidFill>
                      <a:srgbClr val="505050"/>
                    </a:solidFill>
                    <a:latin typeface="Segoe UI"/>
                  </a:rPr>
                  <a:t>old. Should I include her on this one </a:t>
                </a:r>
                <a:br>
                  <a:rPr lang="en-US" sz="816">
                    <a:solidFill>
                      <a:srgbClr val="505050"/>
                    </a:solidFill>
                    <a:latin typeface="Segoe UI"/>
                  </a:rPr>
                </a:br>
                <a:r>
                  <a:rPr lang="en-US" sz="816">
                    <a:solidFill>
                      <a:srgbClr val="505050"/>
                    </a:solidFill>
                    <a:latin typeface="Segoe UI"/>
                  </a:rPr>
                  <a:t>as well?</a:t>
                </a:r>
              </a:p>
            </p:txBody>
          </p:sp>
        </p:grpSp>
        <p:grpSp>
          <p:nvGrpSpPr>
            <p:cNvPr id="857" name="Group 856"/>
            <p:cNvGrpSpPr/>
            <p:nvPr/>
          </p:nvGrpSpPr>
          <p:grpSpPr>
            <a:xfrm>
              <a:off x="3727767" y="7912667"/>
              <a:ext cx="182880" cy="182880"/>
              <a:chOff x="-1742988" y="7834653"/>
              <a:chExt cx="182880" cy="182880"/>
            </a:xfrm>
          </p:grpSpPr>
          <p:sp>
            <p:nvSpPr>
              <p:cNvPr id="895" name="Rectangle 894"/>
              <p:cNvSpPr/>
              <p:nvPr/>
            </p:nvSpPr>
            <p:spPr bwMode="auto">
              <a:xfrm>
                <a:off x="-1742988" y="7834653"/>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896" name="Freeform: Shape 777"/>
              <p:cNvSpPr>
                <a:spLocks/>
              </p:cNvSpPr>
              <p:nvPr/>
            </p:nvSpPr>
            <p:spPr bwMode="auto">
              <a:xfrm>
                <a:off x="-1719991" y="7861294"/>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grpSp>
          <p:nvGrpSpPr>
            <p:cNvPr id="858" name="Group 857"/>
            <p:cNvGrpSpPr/>
            <p:nvPr/>
          </p:nvGrpSpPr>
          <p:grpSpPr>
            <a:xfrm>
              <a:off x="4237648" y="8750843"/>
              <a:ext cx="940177" cy="148019"/>
              <a:chOff x="-1267852" y="8672829"/>
              <a:chExt cx="940177" cy="148019"/>
            </a:xfrm>
          </p:grpSpPr>
          <p:grpSp>
            <p:nvGrpSpPr>
              <p:cNvPr id="891" name="Group 890"/>
              <p:cNvGrpSpPr/>
              <p:nvPr/>
            </p:nvGrpSpPr>
            <p:grpSpPr>
              <a:xfrm flipH="1">
                <a:off x="-1267852" y="8672829"/>
                <a:ext cx="940177" cy="148019"/>
                <a:chOff x="6292744" y="2251075"/>
                <a:chExt cx="940177" cy="148019"/>
              </a:xfrm>
              <a:solidFill>
                <a:srgbClr val="D2E6FA"/>
              </a:solidFill>
            </p:grpSpPr>
            <p:sp>
              <p:nvSpPr>
                <p:cNvPr id="893" name="Rectangle: Rounded Corners 774"/>
                <p:cNvSpPr/>
                <p:nvPr/>
              </p:nvSpPr>
              <p:spPr bwMode="auto">
                <a:xfrm>
                  <a:off x="6316605" y="2251075"/>
                  <a:ext cx="916316" cy="148019"/>
                </a:xfrm>
                <a:prstGeom prst="roundRect">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894" name="Isosceles Triangle 775"/>
                <p:cNvSpPr/>
                <p:nvPr/>
              </p:nvSpPr>
              <p:spPr bwMode="auto">
                <a:xfrm rot="16200000">
                  <a:off x="6269884" y="2314543"/>
                  <a:ext cx="73152" cy="27432"/>
                </a:xfrm>
                <a:prstGeom prst="triangle">
                  <a:avLst/>
                </a:prstGeom>
                <a:solidFill>
                  <a:srgbClr val="D2ED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sp>
            <p:nvSpPr>
              <p:cNvPr id="892" name="Rectangle 891"/>
              <p:cNvSpPr/>
              <p:nvPr/>
            </p:nvSpPr>
            <p:spPr>
              <a:xfrm flipH="1">
                <a:off x="-493025" y="8700672"/>
                <a:ext cx="104597" cy="94160"/>
              </a:xfrm>
              <a:prstGeom prst="rect">
                <a:avLst/>
              </a:prstGeom>
            </p:spPr>
            <p:txBody>
              <a:bodyPr wrap="none" lIns="0" tIns="0" rIns="0" bIns="0">
                <a:spAutoFit/>
              </a:bodyPr>
              <a:lstStyle/>
              <a:p>
                <a:pPr marL="0" lvl="1" algn="r" defTabSz="1243431">
                  <a:defRPr/>
                </a:pPr>
                <a:r>
                  <a:rPr lang="en-US" sz="816">
                    <a:solidFill>
                      <a:srgbClr val="505050"/>
                    </a:solidFill>
                    <a:latin typeface="Segoe UI"/>
                  </a:rPr>
                  <a:t>No</a:t>
                </a:r>
              </a:p>
            </p:txBody>
          </p:sp>
        </p:grpSp>
        <p:sp>
          <p:nvSpPr>
            <p:cNvPr id="859" name="Rectangle 858"/>
            <p:cNvSpPr/>
            <p:nvPr/>
          </p:nvSpPr>
          <p:spPr bwMode="auto">
            <a:xfrm>
              <a:off x="3978624" y="8346909"/>
              <a:ext cx="1322454" cy="159410"/>
            </a:xfrm>
            <a:prstGeom prst="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r>
                <a:rPr lang="en-US" sz="816" kern="0">
                  <a:solidFill>
                    <a:srgbClr val="0078D7"/>
                  </a:solidFill>
                  <a:latin typeface="Segoe UI"/>
                  <a:ea typeface="Segoe UI" pitchFamily="34" charset="0"/>
                  <a:cs typeface="Segoe UI" pitchFamily="34" charset="0"/>
                </a:rPr>
                <a:t>Yes</a:t>
              </a:r>
            </a:p>
          </p:txBody>
        </p:sp>
        <p:sp>
          <p:nvSpPr>
            <p:cNvPr id="860" name="Rectangle 859"/>
            <p:cNvSpPr/>
            <p:nvPr/>
          </p:nvSpPr>
          <p:spPr bwMode="auto">
            <a:xfrm>
              <a:off x="3978624" y="8514288"/>
              <a:ext cx="1322454" cy="159410"/>
            </a:xfrm>
            <a:prstGeom prst="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r>
                <a:rPr lang="en-US" sz="816" kern="0">
                  <a:solidFill>
                    <a:srgbClr val="0078D7"/>
                  </a:solidFill>
                  <a:latin typeface="Segoe UI"/>
                  <a:ea typeface="Segoe UI" pitchFamily="34" charset="0"/>
                  <a:cs typeface="Segoe UI" pitchFamily="34" charset="0"/>
                </a:rPr>
                <a:t>No</a:t>
              </a:r>
            </a:p>
          </p:txBody>
        </p:sp>
        <p:grpSp>
          <p:nvGrpSpPr>
            <p:cNvPr id="861" name="Group 860"/>
            <p:cNvGrpSpPr/>
            <p:nvPr/>
          </p:nvGrpSpPr>
          <p:grpSpPr>
            <a:xfrm>
              <a:off x="3935957" y="8986999"/>
              <a:ext cx="1393648" cy="247756"/>
              <a:chOff x="-1525140" y="8908985"/>
              <a:chExt cx="1393648" cy="247756"/>
            </a:xfrm>
          </p:grpSpPr>
          <p:grpSp>
            <p:nvGrpSpPr>
              <p:cNvPr id="887" name="Group 886"/>
              <p:cNvGrpSpPr/>
              <p:nvPr/>
            </p:nvGrpSpPr>
            <p:grpSpPr>
              <a:xfrm>
                <a:off x="-1525140" y="8908985"/>
                <a:ext cx="1393648" cy="247756"/>
                <a:chOff x="5501375" y="2489992"/>
                <a:chExt cx="1393648" cy="122490"/>
              </a:xfrm>
              <a:solidFill>
                <a:srgbClr val="FAFAFA"/>
              </a:solidFill>
            </p:grpSpPr>
            <p:sp>
              <p:nvSpPr>
                <p:cNvPr id="889" name="Rectangle: Rounded Corners 770"/>
                <p:cNvSpPr/>
                <p:nvPr/>
              </p:nvSpPr>
              <p:spPr bwMode="auto">
                <a:xfrm>
                  <a:off x="5526448" y="2489992"/>
                  <a:ext cx="1368575" cy="122490"/>
                </a:xfrm>
                <a:prstGeom prst="roundRect">
                  <a:avLst>
                    <a:gd name="adj" fmla="val 1235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890" name="Isosceles Triangle 771"/>
                <p:cNvSpPr/>
                <p:nvPr/>
              </p:nvSpPr>
              <p:spPr bwMode="auto">
                <a:xfrm rot="16200000">
                  <a:off x="5486737" y="2530916"/>
                  <a:ext cx="56708" cy="27432"/>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grpSp>
          <p:sp>
            <p:nvSpPr>
              <p:cNvPr id="888" name="Rectangle 887"/>
              <p:cNvSpPr/>
              <p:nvPr/>
            </p:nvSpPr>
            <p:spPr>
              <a:xfrm>
                <a:off x="-1456849" y="8940530"/>
                <a:ext cx="1006286" cy="188321"/>
              </a:xfrm>
              <a:prstGeom prst="rect">
                <a:avLst/>
              </a:prstGeom>
            </p:spPr>
            <p:txBody>
              <a:bodyPr wrap="none" lIns="0" tIns="0" rIns="0" bIns="0">
                <a:spAutoFit/>
              </a:bodyPr>
              <a:lstStyle/>
              <a:p>
                <a:pPr marL="0" lvl="1" defTabSz="1243431">
                  <a:defRPr/>
                </a:pPr>
                <a:r>
                  <a:rPr lang="en-US" sz="816">
                    <a:solidFill>
                      <a:srgbClr val="505050"/>
                    </a:solidFill>
                    <a:latin typeface="Segoe UI"/>
                  </a:rPr>
                  <a:t>What kind of vehicle are you </a:t>
                </a:r>
                <a:br>
                  <a:rPr lang="en-US" sz="816">
                    <a:solidFill>
                      <a:srgbClr val="505050"/>
                    </a:solidFill>
                    <a:latin typeface="Segoe UI"/>
                  </a:rPr>
                </a:br>
                <a:r>
                  <a:rPr lang="en-US" sz="816">
                    <a:solidFill>
                      <a:srgbClr val="505050"/>
                    </a:solidFill>
                    <a:latin typeface="Segoe UI"/>
                  </a:rPr>
                  <a:t>adding today?</a:t>
                </a:r>
              </a:p>
            </p:txBody>
          </p:sp>
        </p:grpSp>
        <p:grpSp>
          <p:nvGrpSpPr>
            <p:cNvPr id="862" name="Group 861"/>
            <p:cNvGrpSpPr/>
            <p:nvPr/>
          </p:nvGrpSpPr>
          <p:grpSpPr>
            <a:xfrm>
              <a:off x="3727767" y="8978683"/>
              <a:ext cx="182880" cy="182880"/>
              <a:chOff x="-1723805" y="8900669"/>
              <a:chExt cx="182880" cy="182880"/>
            </a:xfrm>
          </p:grpSpPr>
          <p:sp>
            <p:nvSpPr>
              <p:cNvPr id="885" name="Rectangle 884"/>
              <p:cNvSpPr/>
              <p:nvPr/>
            </p:nvSpPr>
            <p:spPr bwMode="auto">
              <a:xfrm>
                <a:off x="-1723805" y="8900669"/>
                <a:ext cx="182880" cy="1828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807">
                  <a:solidFill>
                    <a:srgbClr val="505050"/>
                  </a:solidFill>
                  <a:latin typeface="Segoe UI"/>
                  <a:ea typeface="Segoe UI" pitchFamily="34" charset="0"/>
                  <a:cs typeface="Segoe UI" pitchFamily="34" charset="0"/>
                </a:endParaRPr>
              </a:p>
            </p:txBody>
          </p:sp>
          <p:sp>
            <p:nvSpPr>
              <p:cNvPr id="886" name="Freeform: Shape 767"/>
              <p:cNvSpPr>
                <a:spLocks/>
              </p:cNvSpPr>
              <p:nvPr/>
            </p:nvSpPr>
            <p:spPr bwMode="auto">
              <a:xfrm>
                <a:off x="-1700808" y="8927310"/>
                <a:ext cx="136886" cy="129598"/>
              </a:xfrm>
              <a:custGeom>
                <a:avLst/>
                <a:gdLst>
                  <a:gd name="connsiteX0" fmla="*/ 290551 w 511450"/>
                  <a:gd name="connsiteY0" fmla="*/ 253893 h 484217"/>
                  <a:gd name="connsiteX1" fmla="*/ 231706 w 511450"/>
                  <a:gd name="connsiteY1" fmla="*/ 254398 h 484217"/>
                  <a:gd name="connsiteX2" fmla="*/ 190411 w 511450"/>
                  <a:gd name="connsiteY2" fmla="*/ 254398 h 484217"/>
                  <a:gd name="connsiteX3" fmla="*/ 165118 w 511450"/>
                  <a:gd name="connsiteY3" fmla="*/ 278686 h 484217"/>
                  <a:gd name="connsiteX4" fmla="*/ 173893 w 511450"/>
                  <a:gd name="connsiteY4" fmla="*/ 286782 h 484217"/>
                  <a:gd name="connsiteX5" fmla="*/ 273000 w 511450"/>
                  <a:gd name="connsiteY5" fmla="*/ 286782 h 484217"/>
                  <a:gd name="connsiteX6" fmla="*/ 297777 w 511450"/>
                  <a:gd name="connsiteY6" fmla="*/ 261482 h 484217"/>
                  <a:gd name="connsiteX7" fmla="*/ 290551 w 511450"/>
                  <a:gd name="connsiteY7" fmla="*/ 253893 h 484217"/>
                  <a:gd name="connsiteX8" fmla="*/ 298279 w 511450"/>
                  <a:gd name="connsiteY8" fmla="*/ 157574 h 484217"/>
                  <a:gd name="connsiteX9" fmla="*/ 264727 w 511450"/>
                  <a:gd name="connsiteY9" fmla="*/ 189399 h 484217"/>
                  <a:gd name="connsiteX10" fmla="*/ 296730 w 511450"/>
                  <a:gd name="connsiteY10" fmla="*/ 222233 h 484217"/>
                  <a:gd name="connsiteX11" fmla="*/ 330798 w 511450"/>
                  <a:gd name="connsiteY11" fmla="*/ 189904 h 484217"/>
                  <a:gd name="connsiteX12" fmla="*/ 298279 w 511450"/>
                  <a:gd name="connsiteY12" fmla="*/ 157574 h 484217"/>
                  <a:gd name="connsiteX13" fmla="*/ 166108 w 511450"/>
                  <a:gd name="connsiteY13" fmla="*/ 157574 h 484217"/>
                  <a:gd name="connsiteX14" fmla="*/ 132499 w 511450"/>
                  <a:gd name="connsiteY14" fmla="*/ 188893 h 484217"/>
                  <a:gd name="connsiteX15" fmla="*/ 165074 w 511450"/>
                  <a:gd name="connsiteY15" fmla="*/ 222233 h 484217"/>
                  <a:gd name="connsiteX16" fmla="*/ 198684 w 511450"/>
                  <a:gd name="connsiteY16" fmla="*/ 190409 h 484217"/>
                  <a:gd name="connsiteX17" fmla="*/ 166108 w 511450"/>
                  <a:gd name="connsiteY17" fmla="*/ 157574 h 484217"/>
                  <a:gd name="connsiteX18" fmla="*/ 229579 w 511450"/>
                  <a:gd name="connsiteY18" fmla="*/ 0 h 484217"/>
                  <a:gd name="connsiteX19" fmla="*/ 255885 w 511450"/>
                  <a:gd name="connsiteY19" fmla="*/ 25691 h 484217"/>
                  <a:gd name="connsiteX20" fmla="*/ 239895 w 511450"/>
                  <a:gd name="connsiteY20" fmla="*/ 49870 h 484217"/>
                  <a:gd name="connsiteX21" fmla="*/ 239895 w 511450"/>
                  <a:gd name="connsiteY21" fmla="*/ 92689 h 484217"/>
                  <a:gd name="connsiteX22" fmla="*/ 331192 w 511450"/>
                  <a:gd name="connsiteY22" fmla="*/ 93192 h 484217"/>
                  <a:gd name="connsiteX23" fmla="*/ 363687 w 511450"/>
                  <a:gd name="connsiteY23" fmla="*/ 124424 h 484217"/>
                  <a:gd name="connsiteX24" fmla="*/ 363687 w 511450"/>
                  <a:gd name="connsiteY24" fmla="*/ 151627 h 484217"/>
                  <a:gd name="connsiteX25" fmla="*/ 368845 w 511450"/>
                  <a:gd name="connsiteY25" fmla="*/ 158175 h 484217"/>
                  <a:gd name="connsiteX26" fmla="*/ 396699 w 511450"/>
                  <a:gd name="connsiteY26" fmla="*/ 192430 h 484217"/>
                  <a:gd name="connsiteX27" fmla="*/ 396699 w 511450"/>
                  <a:gd name="connsiteY27" fmla="*/ 220639 h 484217"/>
                  <a:gd name="connsiteX28" fmla="*/ 369877 w 511450"/>
                  <a:gd name="connsiteY28" fmla="*/ 253382 h 484217"/>
                  <a:gd name="connsiteX29" fmla="*/ 363171 w 511450"/>
                  <a:gd name="connsiteY29" fmla="*/ 261946 h 484217"/>
                  <a:gd name="connsiteX30" fmla="*/ 363687 w 511450"/>
                  <a:gd name="connsiteY30" fmla="*/ 317358 h 484217"/>
                  <a:gd name="connsiteX31" fmla="*/ 329129 w 511450"/>
                  <a:gd name="connsiteY31" fmla="*/ 351108 h 484217"/>
                  <a:gd name="connsiteX32" fmla="*/ 304370 w 511450"/>
                  <a:gd name="connsiteY32" fmla="*/ 350605 h 484217"/>
                  <a:gd name="connsiteX33" fmla="*/ 297149 w 511450"/>
                  <a:gd name="connsiteY33" fmla="*/ 357153 h 484217"/>
                  <a:gd name="connsiteX34" fmla="*/ 322939 w 511450"/>
                  <a:gd name="connsiteY34" fmla="*/ 383348 h 484217"/>
                  <a:gd name="connsiteX35" fmla="*/ 362140 w 511450"/>
                  <a:gd name="connsiteY35" fmla="*/ 383348 h 484217"/>
                  <a:gd name="connsiteX36" fmla="*/ 373487 w 511450"/>
                  <a:gd name="connsiteY36" fmla="*/ 384859 h 484217"/>
                  <a:gd name="connsiteX37" fmla="*/ 398762 w 511450"/>
                  <a:gd name="connsiteY37" fmla="*/ 395941 h 484217"/>
                  <a:gd name="connsiteX38" fmla="*/ 511450 w 511450"/>
                  <a:gd name="connsiteY38" fmla="*/ 484217 h 484217"/>
                  <a:gd name="connsiteX39" fmla="*/ 0 w 511450"/>
                  <a:gd name="connsiteY39" fmla="*/ 484217 h 484217"/>
                  <a:gd name="connsiteX40" fmla="*/ 49049 w 511450"/>
                  <a:gd name="connsiteY40" fmla="*/ 410550 h 484217"/>
                  <a:gd name="connsiteX41" fmla="*/ 85155 w 511450"/>
                  <a:gd name="connsiteY41" fmla="*/ 385867 h 484217"/>
                  <a:gd name="connsiteX42" fmla="*/ 100113 w 511450"/>
                  <a:gd name="connsiteY42" fmla="*/ 383348 h 484217"/>
                  <a:gd name="connsiteX43" fmla="*/ 157883 w 511450"/>
                  <a:gd name="connsiteY43" fmla="*/ 383348 h 484217"/>
                  <a:gd name="connsiteX44" fmla="*/ 165620 w 511450"/>
                  <a:gd name="connsiteY44" fmla="*/ 376295 h 484217"/>
                  <a:gd name="connsiteX45" fmla="*/ 140861 w 511450"/>
                  <a:gd name="connsiteY45" fmla="*/ 351108 h 484217"/>
                  <a:gd name="connsiteX46" fmla="*/ 99597 w 511450"/>
                  <a:gd name="connsiteY46" fmla="*/ 310809 h 484217"/>
                  <a:gd name="connsiteX47" fmla="*/ 99597 w 511450"/>
                  <a:gd name="connsiteY47" fmla="*/ 260435 h 484217"/>
                  <a:gd name="connsiteX48" fmla="*/ 93923 w 511450"/>
                  <a:gd name="connsiteY48" fmla="*/ 253382 h 484217"/>
                  <a:gd name="connsiteX49" fmla="*/ 66586 w 511450"/>
                  <a:gd name="connsiteY49" fmla="*/ 219632 h 484217"/>
                  <a:gd name="connsiteX50" fmla="*/ 66586 w 511450"/>
                  <a:gd name="connsiteY50" fmla="*/ 191422 h 484217"/>
                  <a:gd name="connsiteX51" fmla="*/ 93408 w 511450"/>
                  <a:gd name="connsiteY51" fmla="*/ 158175 h 484217"/>
                  <a:gd name="connsiteX52" fmla="*/ 99597 w 511450"/>
                  <a:gd name="connsiteY52" fmla="*/ 150619 h 484217"/>
                  <a:gd name="connsiteX53" fmla="*/ 99597 w 511450"/>
                  <a:gd name="connsiteY53" fmla="*/ 125432 h 484217"/>
                  <a:gd name="connsiteX54" fmla="*/ 132093 w 511450"/>
                  <a:gd name="connsiteY54" fmla="*/ 93192 h 484217"/>
                  <a:gd name="connsiteX55" fmla="*/ 219263 w 511450"/>
                  <a:gd name="connsiteY55" fmla="*/ 92689 h 484217"/>
                  <a:gd name="connsiteX56" fmla="*/ 219263 w 511450"/>
                  <a:gd name="connsiteY56" fmla="*/ 49870 h 484217"/>
                  <a:gd name="connsiteX57" fmla="*/ 202757 w 511450"/>
                  <a:gd name="connsiteY57" fmla="*/ 25691 h 484217"/>
                  <a:gd name="connsiteX58" fmla="*/ 229579 w 511450"/>
                  <a:gd name="connsiteY58" fmla="*/ 0 h 48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1450" h="484217">
                    <a:moveTo>
                      <a:pt x="290551" y="253893"/>
                    </a:moveTo>
                    <a:cubicBezTo>
                      <a:pt x="270936" y="254398"/>
                      <a:pt x="251321" y="254398"/>
                      <a:pt x="231706" y="254398"/>
                    </a:cubicBezTo>
                    <a:cubicBezTo>
                      <a:pt x="217769" y="254398"/>
                      <a:pt x="203832" y="254398"/>
                      <a:pt x="190411" y="254398"/>
                    </a:cubicBezTo>
                    <a:cubicBezTo>
                      <a:pt x="165118" y="254398"/>
                      <a:pt x="165634" y="254398"/>
                      <a:pt x="165118" y="278686"/>
                    </a:cubicBezTo>
                    <a:cubicBezTo>
                      <a:pt x="165118" y="285264"/>
                      <a:pt x="167183" y="286782"/>
                      <a:pt x="173893" y="286782"/>
                    </a:cubicBezTo>
                    <a:cubicBezTo>
                      <a:pt x="206929" y="286276"/>
                      <a:pt x="239964" y="286782"/>
                      <a:pt x="273000" y="286782"/>
                    </a:cubicBezTo>
                    <a:cubicBezTo>
                      <a:pt x="298293" y="286782"/>
                      <a:pt x="298293" y="286782"/>
                      <a:pt x="297777" y="261482"/>
                    </a:cubicBezTo>
                    <a:cubicBezTo>
                      <a:pt x="297777" y="255411"/>
                      <a:pt x="296229" y="253893"/>
                      <a:pt x="290551" y="253893"/>
                    </a:cubicBezTo>
                    <a:close/>
                    <a:moveTo>
                      <a:pt x="298279" y="157574"/>
                    </a:moveTo>
                    <a:cubicBezTo>
                      <a:pt x="280212" y="157069"/>
                      <a:pt x="264727" y="171213"/>
                      <a:pt x="264727" y="189399"/>
                    </a:cubicBezTo>
                    <a:cubicBezTo>
                      <a:pt x="264210" y="207079"/>
                      <a:pt x="278664" y="221728"/>
                      <a:pt x="296730" y="222233"/>
                    </a:cubicBezTo>
                    <a:cubicBezTo>
                      <a:pt x="315313" y="222233"/>
                      <a:pt x="330282" y="208089"/>
                      <a:pt x="330798" y="189904"/>
                    </a:cubicBezTo>
                    <a:cubicBezTo>
                      <a:pt x="330798" y="172224"/>
                      <a:pt x="316345" y="157574"/>
                      <a:pt x="298279" y="157574"/>
                    </a:cubicBezTo>
                    <a:close/>
                    <a:moveTo>
                      <a:pt x="166108" y="157574"/>
                    </a:moveTo>
                    <a:cubicBezTo>
                      <a:pt x="148011" y="157069"/>
                      <a:pt x="133016" y="171213"/>
                      <a:pt x="132499" y="188893"/>
                    </a:cubicBezTo>
                    <a:cubicBezTo>
                      <a:pt x="131982" y="206574"/>
                      <a:pt x="146460" y="221728"/>
                      <a:pt x="165074" y="222233"/>
                    </a:cubicBezTo>
                    <a:cubicBezTo>
                      <a:pt x="183172" y="222233"/>
                      <a:pt x="198167" y="208089"/>
                      <a:pt x="198684" y="190409"/>
                    </a:cubicBezTo>
                    <a:cubicBezTo>
                      <a:pt x="199201" y="172729"/>
                      <a:pt x="184206" y="157574"/>
                      <a:pt x="166108" y="157574"/>
                    </a:cubicBezTo>
                    <a:close/>
                    <a:moveTo>
                      <a:pt x="229579" y="0"/>
                    </a:moveTo>
                    <a:cubicBezTo>
                      <a:pt x="244021" y="0"/>
                      <a:pt x="255885" y="11586"/>
                      <a:pt x="255885" y="25691"/>
                    </a:cubicBezTo>
                    <a:cubicBezTo>
                      <a:pt x="255885" y="36269"/>
                      <a:pt x="249179" y="45841"/>
                      <a:pt x="239895" y="49870"/>
                    </a:cubicBezTo>
                    <a:cubicBezTo>
                      <a:pt x="239895" y="49870"/>
                      <a:pt x="239895" y="49870"/>
                      <a:pt x="239895" y="92689"/>
                    </a:cubicBezTo>
                    <a:cubicBezTo>
                      <a:pt x="270327" y="92689"/>
                      <a:pt x="300760" y="93192"/>
                      <a:pt x="331192" y="93192"/>
                    </a:cubicBezTo>
                    <a:cubicBezTo>
                      <a:pt x="349245" y="93192"/>
                      <a:pt x="362656" y="106793"/>
                      <a:pt x="363687" y="124424"/>
                    </a:cubicBezTo>
                    <a:cubicBezTo>
                      <a:pt x="363687" y="133492"/>
                      <a:pt x="363687" y="142559"/>
                      <a:pt x="363687" y="151627"/>
                    </a:cubicBezTo>
                    <a:cubicBezTo>
                      <a:pt x="363171" y="155656"/>
                      <a:pt x="364719" y="157168"/>
                      <a:pt x="368845" y="158175"/>
                    </a:cubicBezTo>
                    <a:cubicBezTo>
                      <a:pt x="387930" y="162205"/>
                      <a:pt x="396183" y="173791"/>
                      <a:pt x="396699" y="192430"/>
                    </a:cubicBezTo>
                    <a:cubicBezTo>
                      <a:pt x="396699" y="202001"/>
                      <a:pt x="396699" y="211572"/>
                      <a:pt x="396699" y="220639"/>
                    </a:cubicBezTo>
                    <a:cubicBezTo>
                      <a:pt x="396183" y="237766"/>
                      <a:pt x="386898" y="249856"/>
                      <a:pt x="369877" y="253382"/>
                    </a:cubicBezTo>
                    <a:cubicBezTo>
                      <a:pt x="364203" y="254390"/>
                      <a:pt x="363171" y="256909"/>
                      <a:pt x="363171" y="261946"/>
                    </a:cubicBezTo>
                    <a:cubicBezTo>
                      <a:pt x="363687" y="280081"/>
                      <a:pt x="363687" y="298719"/>
                      <a:pt x="363687" y="317358"/>
                    </a:cubicBezTo>
                    <a:cubicBezTo>
                      <a:pt x="363171" y="337004"/>
                      <a:pt x="349761" y="350605"/>
                      <a:pt x="329129" y="351108"/>
                    </a:cubicBezTo>
                    <a:cubicBezTo>
                      <a:pt x="320876" y="351108"/>
                      <a:pt x="312623" y="351108"/>
                      <a:pt x="304370" y="350605"/>
                    </a:cubicBezTo>
                    <a:cubicBezTo>
                      <a:pt x="299212" y="350605"/>
                      <a:pt x="297665" y="351612"/>
                      <a:pt x="297149" y="357153"/>
                    </a:cubicBezTo>
                    <a:cubicBezTo>
                      <a:pt x="296633" y="383348"/>
                      <a:pt x="296633" y="383348"/>
                      <a:pt x="322939" y="383348"/>
                    </a:cubicBezTo>
                    <a:cubicBezTo>
                      <a:pt x="335834" y="383348"/>
                      <a:pt x="348729" y="382844"/>
                      <a:pt x="362140" y="383348"/>
                    </a:cubicBezTo>
                    <a:cubicBezTo>
                      <a:pt x="365750" y="383348"/>
                      <a:pt x="369877" y="383851"/>
                      <a:pt x="373487" y="384859"/>
                    </a:cubicBezTo>
                    <a:cubicBezTo>
                      <a:pt x="382256" y="386370"/>
                      <a:pt x="391025" y="389896"/>
                      <a:pt x="398762" y="395941"/>
                    </a:cubicBezTo>
                    <a:lnTo>
                      <a:pt x="511450" y="484217"/>
                    </a:lnTo>
                    <a:lnTo>
                      <a:pt x="0" y="484217"/>
                    </a:lnTo>
                    <a:lnTo>
                      <a:pt x="49049" y="410550"/>
                    </a:lnTo>
                    <a:cubicBezTo>
                      <a:pt x="57301" y="397956"/>
                      <a:pt x="70712" y="389393"/>
                      <a:pt x="85155" y="385867"/>
                    </a:cubicBezTo>
                    <a:cubicBezTo>
                      <a:pt x="89797" y="383851"/>
                      <a:pt x="94955" y="383348"/>
                      <a:pt x="100113" y="383348"/>
                    </a:cubicBezTo>
                    <a:cubicBezTo>
                      <a:pt x="119713" y="382844"/>
                      <a:pt x="138798" y="382844"/>
                      <a:pt x="157883" y="383348"/>
                    </a:cubicBezTo>
                    <a:cubicBezTo>
                      <a:pt x="163556" y="383348"/>
                      <a:pt x="165620" y="382340"/>
                      <a:pt x="165620" y="376295"/>
                    </a:cubicBezTo>
                    <a:cubicBezTo>
                      <a:pt x="166136" y="351108"/>
                      <a:pt x="166136" y="351108"/>
                      <a:pt x="140861" y="351108"/>
                    </a:cubicBezTo>
                    <a:cubicBezTo>
                      <a:pt x="110945" y="351108"/>
                      <a:pt x="99597" y="339522"/>
                      <a:pt x="99597" y="310809"/>
                    </a:cubicBezTo>
                    <a:cubicBezTo>
                      <a:pt x="99597" y="294185"/>
                      <a:pt x="99081" y="277562"/>
                      <a:pt x="99597" y="260435"/>
                    </a:cubicBezTo>
                    <a:cubicBezTo>
                      <a:pt x="99597" y="256405"/>
                      <a:pt x="98566" y="254390"/>
                      <a:pt x="93923" y="253382"/>
                    </a:cubicBezTo>
                    <a:cubicBezTo>
                      <a:pt x="75870" y="249856"/>
                      <a:pt x="66586" y="237766"/>
                      <a:pt x="66586" y="219632"/>
                    </a:cubicBezTo>
                    <a:cubicBezTo>
                      <a:pt x="66586" y="210060"/>
                      <a:pt x="66586" y="200993"/>
                      <a:pt x="66586" y="191422"/>
                    </a:cubicBezTo>
                    <a:cubicBezTo>
                      <a:pt x="66586" y="173791"/>
                      <a:pt x="75870" y="161701"/>
                      <a:pt x="93408" y="158175"/>
                    </a:cubicBezTo>
                    <a:cubicBezTo>
                      <a:pt x="98566" y="157168"/>
                      <a:pt x="99597" y="155153"/>
                      <a:pt x="99597" y="150619"/>
                    </a:cubicBezTo>
                    <a:cubicBezTo>
                      <a:pt x="99081" y="142055"/>
                      <a:pt x="99081" y="133492"/>
                      <a:pt x="99597" y="125432"/>
                    </a:cubicBezTo>
                    <a:cubicBezTo>
                      <a:pt x="100113" y="107297"/>
                      <a:pt x="113524" y="93192"/>
                      <a:pt x="132093" y="93192"/>
                    </a:cubicBezTo>
                    <a:cubicBezTo>
                      <a:pt x="160977" y="93192"/>
                      <a:pt x="189862" y="92689"/>
                      <a:pt x="219263" y="92689"/>
                    </a:cubicBezTo>
                    <a:cubicBezTo>
                      <a:pt x="219263" y="92689"/>
                      <a:pt x="219263" y="92689"/>
                      <a:pt x="219263" y="49870"/>
                    </a:cubicBezTo>
                    <a:cubicBezTo>
                      <a:pt x="209463" y="45841"/>
                      <a:pt x="202757" y="36269"/>
                      <a:pt x="202757" y="25691"/>
                    </a:cubicBezTo>
                    <a:cubicBezTo>
                      <a:pt x="202757" y="11586"/>
                      <a:pt x="214621" y="0"/>
                      <a:pt x="22957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noAutofit/>
              </a:bodyPr>
              <a:lstStyle/>
              <a:p>
                <a:pPr algn="ctr" defTabSz="1268006" fontAlgn="base">
                  <a:spcBef>
                    <a:spcPct val="0"/>
                  </a:spcBef>
                  <a:spcAft>
                    <a:spcPct val="0"/>
                  </a:spcAft>
                  <a:defRPr/>
                </a:pPr>
                <a:endParaRPr lang="en-US" sz="3264" kern="0">
                  <a:gradFill>
                    <a:gsLst>
                      <a:gs pos="5439">
                        <a:srgbClr val="F8F8F8"/>
                      </a:gs>
                      <a:gs pos="10000">
                        <a:srgbClr val="F8F8F8"/>
                      </a:gs>
                    </a:gsLst>
                    <a:lin ang="5400000" scaled="0"/>
                  </a:gradFill>
                  <a:latin typeface="Segoe UI"/>
                </a:endParaRPr>
              </a:p>
            </p:txBody>
          </p:sp>
        </p:grpSp>
        <p:sp>
          <p:nvSpPr>
            <p:cNvPr id="863" name="Rectangle 862"/>
            <p:cNvSpPr/>
            <p:nvPr/>
          </p:nvSpPr>
          <p:spPr bwMode="auto">
            <a:xfrm>
              <a:off x="3981113" y="9235365"/>
              <a:ext cx="1343831" cy="159410"/>
            </a:xfrm>
            <a:prstGeom prst="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r>
                <a:rPr lang="en-US" sz="816" kern="0">
                  <a:solidFill>
                    <a:srgbClr val="0078D7"/>
                  </a:solidFill>
                  <a:latin typeface="Segoe UI"/>
                  <a:ea typeface="Segoe UI" pitchFamily="34" charset="0"/>
                  <a:cs typeface="Segoe UI" pitchFamily="34" charset="0"/>
                </a:rPr>
                <a:t>SUV</a:t>
              </a:r>
            </a:p>
          </p:txBody>
        </p:sp>
        <p:sp>
          <p:nvSpPr>
            <p:cNvPr id="864" name="Rectangle 863"/>
            <p:cNvSpPr/>
            <p:nvPr/>
          </p:nvSpPr>
          <p:spPr bwMode="auto">
            <a:xfrm>
              <a:off x="3981113" y="9402744"/>
              <a:ext cx="1343831" cy="159410"/>
            </a:xfrm>
            <a:prstGeom prst="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r>
                <a:rPr lang="en-US" sz="816" kern="0">
                  <a:solidFill>
                    <a:srgbClr val="0078D7"/>
                  </a:solidFill>
                  <a:latin typeface="Segoe UI"/>
                  <a:ea typeface="Segoe UI" pitchFamily="34" charset="0"/>
                  <a:cs typeface="Segoe UI" pitchFamily="34" charset="0"/>
                </a:rPr>
                <a:t>Crossover</a:t>
              </a:r>
            </a:p>
          </p:txBody>
        </p:sp>
        <p:sp>
          <p:nvSpPr>
            <p:cNvPr id="865" name="Rectangle 864"/>
            <p:cNvSpPr/>
            <p:nvPr/>
          </p:nvSpPr>
          <p:spPr bwMode="auto">
            <a:xfrm>
              <a:off x="3978623" y="9566098"/>
              <a:ext cx="1343831" cy="159410"/>
            </a:xfrm>
            <a:prstGeom prst="rect">
              <a:avLst/>
            </a:prstGeom>
            <a:no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r>
                <a:rPr lang="en-US" sz="816" kern="0">
                  <a:solidFill>
                    <a:srgbClr val="0078D7"/>
                  </a:solidFill>
                  <a:latin typeface="Segoe UI"/>
                  <a:ea typeface="Segoe UI" pitchFamily="34" charset="0"/>
                  <a:cs typeface="Segoe UI" pitchFamily="34" charset="0"/>
                </a:rPr>
                <a:t>Hybrid Sedan</a:t>
              </a:r>
            </a:p>
          </p:txBody>
        </p:sp>
        <p:grpSp>
          <p:nvGrpSpPr>
            <p:cNvPr id="866" name="Group 865"/>
            <p:cNvGrpSpPr/>
            <p:nvPr/>
          </p:nvGrpSpPr>
          <p:grpSpPr>
            <a:xfrm>
              <a:off x="5201550" y="7243969"/>
              <a:ext cx="180975" cy="180975"/>
              <a:chOff x="2678461" y="11636877"/>
              <a:chExt cx="180975" cy="180975"/>
            </a:xfrm>
          </p:grpSpPr>
          <p:sp>
            <p:nvSpPr>
              <p:cNvPr id="883" name="Rectangle 882"/>
              <p:cNvSpPr>
                <a:spLocks noChangeAspect="1"/>
              </p:cNvSpPr>
              <p:nvPr/>
            </p:nvSpPr>
            <p:spPr bwMode="auto">
              <a:xfrm>
                <a:off x="2678461" y="11636877"/>
                <a:ext cx="180975" cy="18097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884" name="Freeform: Shape 765"/>
              <p:cNvSpPr/>
              <p:nvPr/>
            </p:nvSpPr>
            <p:spPr>
              <a:xfrm>
                <a:off x="2681270" y="11663002"/>
                <a:ext cx="175356" cy="154850"/>
              </a:xfrm>
              <a:custGeom>
                <a:avLst/>
                <a:gdLst>
                  <a:gd name="connsiteX0" fmla="*/ 33407 w 117532"/>
                  <a:gd name="connsiteY0" fmla="*/ 86265 h 103789"/>
                  <a:gd name="connsiteX1" fmla="*/ 40699 w 117532"/>
                  <a:gd name="connsiteY1" fmla="*/ 97471 h 103789"/>
                  <a:gd name="connsiteX2" fmla="*/ 45604 w 117532"/>
                  <a:gd name="connsiteY2" fmla="*/ 103789 h 103789"/>
                  <a:gd name="connsiteX3" fmla="*/ 0 w 117532"/>
                  <a:gd name="connsiteY3" fmla="*/ 103789 h 103789"/>
                  <a:gd name="connsiteX4" fmla="*/ 4413 w 117532"/>
                  <a:gd name="connsiteY4" fmla="*/ 97606 h 103789"/>
                  <a:gd name="connsiteX5" fmla="*/ 12017 w 117532"/>
                  <a:gd name="connsiteY5" fmla="*/ 94044 h 103789"/>
                  <a:gd name="connsiteX6" fmla="*/ 19949 w 117532"/>
                  <a:gd name="connsiteY6" fmla="*/ 91518 h 103789"/>
                  <a:gd name="connsiteX7" fmla="*/ 30558 w 117532"/>
                  <a:gd name="connsiteY7" fmla="*/ 87350 h 103789"/>
                  <a:gd name="connsiteX8" fmla="*/ 82840 w 117532"/>
                  <a:gd name="connsiteY8" fmla="*/ 84764 h 103789"/>
                  <a:gd name="connsiteX9" fmla="*/ 83734 w 117532"/>
                  <a:gd name="connsiteY9" fmla="*/ 85076 h 103789"/>
                  <a:gd name="connsiteX10" fmla="*/ 92828 w 117532"/>
                  <a:gd name="connsiteY10" fmla="*/ 87981 h 103789"/>
                  <a:gd name="connsiteX11" fmla="*/ 110587 w 117532"/>
                  <a:gd name="connsiteY11" fmla="*/ 93943 h 103789"/>
                  <a:gd name="connsiteX12" fmla="*/ 116321 w 117532"/>
                  <a:gd name="connsiteY12" fmla="*/ 100587 h 103789"/>
                  <a:gd name="connsiteX13" fmla="*/ 117532 w 117532"/>
                  <a:gd name="connsiteY13" fmla="*/ 103789 h 103789"/>
                  <a:gd name="connsiteX14" fmla="*/ 74306 w 117532"/>
                  <a:gd name="connsiteY14" fmla="*/ 103789 h 103789"/>
                  <a:gd name="connsiteX15" fmla="*/ 71232 w 117532"/>
                  <a:gd name="connsiteY15" fmla="*/ 72363 h 103789"/>
                  <a:gd name="connsiteX16" fmla="*/ 70850 w 117532"/>
                  <a:gd name="connsiteY16" fmla="*/ 78357 h 103789"/>
                  <a:gd name="connsiteX17" fmla="*/ 80029 w 117532"/>
                  <a:gd name="connsiteY17" fmla="*/ 83014 h 103789"/>
                  <a:gd name="connsiteX18" fmla="*/ 73715 w 117532"/>
                  <a:gd name="connsiteY18" fmla="*/ 99898 h 103789"/>
                  <a:gd name="connsiteX19" fmla="*/ 71447 w 117532"/>
                  <a:gd name="connsiteY19" fmla="*/ 103789 h 103789"/>
                  <a:gd name="connsiteX20" fmla="*/ 48356 w 117532"/>
                  <a:gd name="connsiteY20" fmla="*/ 103789 h 103789"/>
                  <a:gd name="connsiteX21" fmla="*/ 45827 w 117532"/>
                  <a:gd name="connsiteY21" fmla="*/ 101110 h 103789"/>
                  <a:gd name="connsiteX22" fmla="*/ 35905 w 117532"/>
                  <a:gd name="connsiteY22" fmla="*/ 85274 h 103789"/>
                  <a:gd name="connsiteX23" fmla="*/ 45412 w 117532"/>
                  <a:gd name="connsiteY23" fmla="*/ 79039 h 103789"/>
                  <a:gd name="connsiteX24" fmla="*/ 45291 w 117532"/>
                  <a:gd name="connsiteY24" fmla="*/ 72840 h 103789"/>
                  <a:gd name="connsiteX25" fmla="*/ 51283 w 117532"/>
                  <a:gd name="connsiteY25" fmla="*/ 76456 h 103789"/>
                  <a:gd name="connsiteX26" fmla="*/ 60377 w 117532"/>
                  <a:gd name="connsiteY26" fmla="*/ 77669 h 103789"/>
                  <a:gd name="connsiteX27" fmla="*/ 68259 w 117532"/>
                  <a:gd name="connsiteY27" fmla="*/ 74233 h 103789"/>
                  <a:gd name="connsiteX28" fmla="*/ 71232 w 117532"/>
                  <a:gd name="connsiteY28" fmla="*/ 72363 h 103789"/>
                  <a:gd name="connsiteX29" fmla="*/ 86982 w 117532"/>
                  <a:gd name="connsiteY29" fmla="*/ 26674 h 103789"/>
                  <a:gd name="connsiteX30" fmla="*/ 87523 w 117532"/>
                  <a:gd name="connsiteY30" fmla="*/ 27229 h 103789"/>
                  <a:gd name="connsiteX31" fmla="*/ 89796 w 117532"/>
                  <a:gd name="connsiteY31" fmla="*/ 36323 h 103789"/>
                  <a:gd name="connsiteX32" fmla="*/ 92070 w 117532"/>
                  <a:gd name="connsiteY32" fmla="*/ 48322 h 103789"/>
                  <a:gd name="connsiteX33" fmla="*/ 92828 w 117532"/>
                  <a:gd name="connsiteY33" fmla="*/ 59816 h 103789"/>
                  <a:gd name="connsiteX34" fmla="*/ 92575 w 117532"/>
                  <a:gd name="connsiteY34" fmla="*/ 67015 h 103789"/>
                  <a:gd name="connsiteX35" fmla="*/ 90428 w 117532"/>
                  <a:gd name="connsiteY35" fmla="*/ 72193 h 103789"/>
                  <a:gd name="connsiteX36" fmla="*/ 86512 w 117532"/>
                  <a:gd name="connsiteY36" fmla="*/ 72951 h 103789"/>
                  <a:gd name="connsiteX37" fmla="*/ 80323 w 117532"/>
                  <a:gd name="connsiteY37" fmla="*/ 72446 h 103789"/>
                  <a:gd name="connsiteX38" fmla="*/ 75650 w 117532"/>
                  <a:gd name="connsiteY38" fmla="*/ 70804 h 103789"/>
                  <a:gd name="connsiteX39" fmla="*/ 76282 w 117532"/>
                  <a:gd name="connsiteY39" fmla="*/ 69036 h 103789"/>
                  <a:gd name="connsiteX40" fmla="*/ 78808 w 117532"/>
                  <a:gd name="connsiteY40" fmla="*/ 65626 h 103789"/>
                  <a:gd name="connsiteX41" fmla="*/ 81208 w 117532"/>
                  <a:gd name="connsiteY41" fmla="*/ 59816 h 103789"/>
                  <a:gd name="connsiteX42" fmla="*/ 81713 w 117532"/>
                  <a:gd name="connsiteY42" fmla="*/ 57289 h 103789"/>
                  <a:gd name="connsiteX43" fmla="*/ 83228 w 117532"/>
                  <a:gd name="connsiteY43" fmla="*/ 55648 h 103789"/>
                  <a:gd name="connsiteX44" fmla="*/ 85376 w 117532"/>
                  <a:gd name="connsiteY44" fmla="*/ 49206 h 103789"/>
                  <a:gd name="connsiteX45" fmla="*/ 86891 w 117532"/>
                  <a:gd name="connsiteY45" fmla="*/ 42386 h 103789"/>
                  <a:gd name="connsiteX46" fmla="*/ 87018 w 117532"/>
                  <a:gd name="connsiteY46" fmla="*/ 39354 h 103789"/>
                  <a:gd name="connsiteX47" fmla="*/ 85628 w 117532"/>
                  <a:gd name="connsiteY47" fmla="*/ 36576 h 103789"/>
                  <a:gd name="connsiteX48" fmla="*/ 84239 w 117532"/>
                  <a:gd name="connsiteY48" fmla="*/ 35313 h 103789"/>
                  <a:gd name="connsiteX49" fmla="*/ 83986 w 117532"/>
                  <a:gd name="connsiteY49" fmla="*/ 32786 h 103789"/>
                  <a:gd name="connsiteX50" fmla="*/ 84239 w 117532"/>
                  <a:gd name="connsiteY50" fmla="*/ 29755 h 103789"/>
                  <a:gd name="connsiteX51" fmla="*/ 85502 w 117532"/>
                  <a:gd name="connsiteY51" fmla="*/ 27861 h 103789"/>
                  <a:gd name="connsiteX52" fmla="*/ 86982 w 117532"/>
                  <a:gd name="connsiteY52" fmla="*/ 26674 h 103789"/>
                  <a:gd name="connsiteX53" fmla="*/ 50879 w 117532"/>
                  <a:gd name="connsiteY53" fmla="*/ 8152 h 103789"/>
                  <a:gd name="connsiteX54" fmla="*/ 41785 w 117532"/>
                  <a:gd name="connsiteY54" fmla="*/ 36646 h 103789"/>
                  <a:gd name="connsiteX55" fmla="*/ 54113 w 117532"/>
                  <a:gd name="connsiteY55" fmla="*/ 15629 h 103789"/>
                  <a:gd name="connsiteX56" fmla="*/ 53894 w 117532"/>
                  <a:gd name="connsiteY56" fmla="*/ 0 h 103789"/>
                  <a:gd name="connsiteX57" fmla="*/ 57672 w 117532"/>
                  <a:gd name="connsiteY57" fmla="*/ 32 h 103789"/>
                  <a:gd name="connsiteX58" fmla="*/ 62893 w 117532"/>
                  <a:gd name="connsiteY58" fmla="*/ 537 h 103789"/>
                  <a:gd name="connsiteX59" fmla="*/ 68956 w 117532"/>
                  <a:gd name="connsiteY59" fmla="*/ 3231 h 103789"/>
                  <a:gd name="connsiteX60" fmla="*/ 75860 w 117532"/>
                  <a:gd name="connsiteY60" fmla="*/ 8789 h 103789"/>
                  <a:gd name="connsiteX61" fmla="*/ 83944 w 117532"/>
                  <a:gd name="connsiteY61" fmla="*/ 18388 h 103789"/>
                  <a:gd name="connsiteX62" fmla="*/ 86976 w 117532"/>
                  <a:gd name="connsiteY62" fmla="*/ 23440 h 103789"/>
                  <a:gd name="connsiteX63" fmla="*/ 85628 w 117532"/>
                  <a:gd name="connsiteY63" fmla="*/ 26640 h 103789"/>
                  <a:gd name="connsiteX64" fmla="*/ 82765 w 117532"/>
                  <a:gd name="connsiteY64" fmla="*/ 28155 h 103789"/>
                  <a:gd name="connsiteX65" fmla="*/ 80744 w 117532"/>
                  <a:gd name="connsiteY65" fmla="*/ 26471 h 103789"/>
                  <a:gd name="connsiteX66" fmla="*/ 76197 w 117532"/>
                  <a:gd name="connsiteY66" fmla="*/ 21756 h 103789"/>
                  <a:gd name="connsiteX67" fmla="*/ 68114 w 117532"/>
                  <a:gd name="connsiteY67" fmla="*/ 17883 h 103789"/>
                  <a:gd name="connsiteX68" fmla="*/ 59356 w 117532"/>
                  <a:gd name="connsiteY68" fmla="*/ 17883 h 103789"/>
                  <a:gd name="connsiteX69" fmla="*/ 70760 w 117532"/>
                  <a:gd name="connsiteY69" fmla="*/ 20409 h 103789"/>
                  <a:gd name="connsiteX70" fmla="*/ 76318 w 117532"/>
                  <a:gd name="connsiteY70" fmla="*/ 23738 h 103789"/>
                  <a:gd name="connsiteX71" fmla="*/ 81593 w 117532"/>
                  <a:gd name="connsiteY71" fmla="*/ 29254 h 103789"/>
                  <a:gd name="connsiteX72" fmla="*/ 80845 w 117532"/>
                  <a:gd name="connsiteY72" fmla="*/ 32155 h 103789"/>
                  <a:gd name="connsiteX73" fmla="*/ 80845 w 117532"/>
                  <a:gd name="connsiteY73" fmla="*/ 38329 h 103789"/>
                  <a:gd name="connsiteX74" fmla="*/ 83734 w 117532"/>
                  <a:gd name="connsiteY74" fmla="*/ 40618 h 103789"/>
                  <a:gd name="connsiteX75" fmla="*/ 80657 w 117532"/>
                  <a:gd name="connsiteY75" fmla="*/ 54146 h 103789"/>
                  <a:gd name="connsiteX76" fmla="*/ 78898 w 117532"/>
                  <a:gd name="connsiteY76" fmla="*/ 55326 h 103789"/>
                  <a:gd name="connsiteX77" fmla="*/ 69744 w 117532"/>
                  <a:gd name="connsiteY77" fmla="*/ 70547 h 103789"/>
                  <a:gd name="connsiteX78" fmla="*/ 62196 w 117532"/>
                  <a:gd name="connsiteY78" fmla="*/ 75850 h 103789"/>
                  <a:gd name="connsiteX79" fmla="*/ 54921 w 117532"/>
                  <a:gd name="connsiteY79" fmla="*/ 75850 h 103789"/>
                  <a:gd name="connsiteX80" fmla="*/ 44647 w 117532"/>
                  <a:gd name="connsiteY80" fmla="*/ 69756 h 103789"/>
                  <a:gd name="connsiteX81" fmla="*/ 36827 w 117532"/>
                  <a:gd name="connsiteY81" fmla="*/ 54632 h 103789"/>
                  <a:gd name="connsiteX82" fmla="*/ 31679 w 117532"/>
                  <a:gd name="connsiteY82" fmla="*/ 42769 h 103789"/>
                  <a:gd name="connsiteX83" fmla="*/ 33688 w 117532"/>
                  <a:gd name="connsiteY83" fmla="*/ 39439 h 103789"/>
                  <a:gd name="connsiteX84" fmla="*/ 32770 w 117532"/>
                  <a:gd name="connsiteY84" fmla="*/ 33888 h 103789"/>
                  <a:gd name="connsiteX85" fmla="*/ 30558 w 117532"/>
                  <a:gd name="connsiteY85" fmla="*/ 35565 h 103789"/>
                  <a:gd name="connsiteX86" fmla="*/ 29211 w 117532"/>
                  <a:gd name="connsiteY86" fmla="*/ 37249 h 103789"/>
                  <a:gd name="connsiteX87" fmla="*/ 28032 w 117532"/>
                  <a:gd name="connsiteY87" fmla="*/ 40449 h 103789"/>
                  <a:gd name="connsiteX88" fmla="*/ 28537 w 117532"/>
                  <a:gd name="connsiteY88" fmla="*/ 43649 h 103789"/>
                  <a:gd name="connsiteX89" fmla="*/ 29379 w 117532"/>
                  <a:gd name="connsiteY89" fmla="*/ 48532 h 103789"/>
                  <a:gd name="connsiteX90" fmla="*/ 31400 w 117532"/>
                  <a:gd name="connsiteY90" fmla="*/ 56447 h 103789"/>
                  <a:gd name="connsiteX91" fmla="*/ 33590 w 117532"/>
                  <a:gd name="connsiteY91" fmla="*/ 58300 h 103789"/>
                  <a:gd name="connsiteX92" fmla="*/ 34937 w 117532"/>
                  <a:gd name="connsiteY92" fmla="*/ 61836 h 103789"/>
                  <a:gd name="connsiteX93" fmla="*/ 38137 w 117532"/>
                  <a:gd name="connsiteY93" fmla="*/ 68067 h 103789"/>
                  <a:gd name="connsiteX94" fmla="*/ 39484 w 117532"/>
                  <a:gd name="connsiteY94" fmla="*/ 71941 h 103789"/>
                  <a:gd name="connsiteX95" fmla="*/ 35779 w 117532"/>
                  <a:gd name="connsiteY95" fmla="*/ 72951 h 103789"/>
                  <a:gd name="connsiteX96" fmla="*/ 30390 w 117532"/>
                  <a:gd name="connsiteY96" fmla="*/ 73625 h 103789"/>
                  <a:gd name="connsiteX97" fmla="*/ 25506 w 117532"/>
                  <a:gd name="connsiteY97" fmla="*/ 72446 h 103789"/>
                  <a:gd name="connsiteX98" fmla="*/ 23317 w 117532"/>
                  <a:gd name="connsiteY98" fmla="*/ 68741 h 103789"/>
                  <a:gd name="connsiteX99" fmla="*/ 22306 w 117532"/>
                  <a:gd name="connsiteY99" fmla="*/ 62173 h 103789"/>
                  <a:gd name="connsiteX100" fmla="*/ 22643 w 117532"/>
                  <a:gd name="connsiteY100" fmla="*/ 53585 h 103789"/>
                  <a:gd name="connsiteX101" fmla="*/ 25338 w 117532"/>
                  <a:gd name="connsiteY101" fmla="*/ 35228 h 103789"/>
                  <a:gd name="connsiteX102" fmla="*/ 31569 w 117532"/>
                  <a:gd name="connsiteY102" fmla="*/ 16535 h 103789"/>
                  <a:gd name="connsiteX103" fmla="*/ 36789 w 117532"/>
                  <a:gd name="connsiteY103" fmla="*/ 7947 h 103789"/>
                  <a:gd name="connsiteX104" fmla="*/ 41842 w 117532"/>
                  <a:gd name="connsiteY104" fmla="*/ 3736 h 103789"/>
                  <a:gd name="connsiteX105" fmla="*/ 46389 w 117532"/>
                  <a:gd name="connsiteY105" fmla="*/ 3063 h 103789"/>
                  <a:gd name="connsiteX106" fmla="*/ 50262 w 117532"/>
                  <a:gd name="connsiteY106" fmla="*/ 368 h 103789"/>
                  <a:gd name="connsiteX107" fmla="*/ 53894 w 117532"/>
                  <a:gd name="connsiteY107" fmla="*/ 0 h 10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7532" h="103789">
                    <a:moveTo>
                      <a:pt x="33407" y="86265"/>
                    </a:moveTo>
                    <a:cubicBezTo>
                      <a:pt x="35181" y="89188"/>
                      <a:pt x="37867" y="93387"/>
                      <a:pt x="40699" y="97471"/>
                    </a:cubicBezTo>
                    <a:lnTo>
                      <a:pt x="45604" y="103789"/>
                    </a:lnTo>
                    <a:lnTo>
                      <a:pt x="0" y="103789"/>
                    </a:lnTo>
                    <a:lnTo>
                      <a:pt x="4413" y="97606"/>
                    </a:lnTo>
                    <a:lnTo>
                      <a:pt x="12017" y="94044"/>
                    </a:lnTo>
                    <a:lnTo>
                      <a:pt x="19949" y="91518"/>
                    </a:lnTo>
                    <a:lnTo>
                      <a:pt x="30558" y="87350"/>
                    </a:lnTo>
                    <a:close/>
                    <a:moveTo>
                      <a:pt x="82840" y="84764"/>
                    </a:moveTo>
                    <a:lnTo>
                      <a:pt x="83734" y="85076"/>
                    </a:lnTo>
                    <a:lnTo>
                      <a:pt x="92828" y="87981"/>
                    </a:lnTo>
                    <a:lnTo>
                      <a:pt x="110587" y="93943"/>
                    </a:lnTo>
                    <a:cubicBezTo>
                      <a:pt x="110881" y="95080"/>
                      <a:pt x="115639" y="97732"/>
                      <a:pt x="116321" y="100587"/>
                    </a:cubicBezTo>
                    <a:lnTo>
                      <a:pt x="117532" y="103789"/>
                    </a:lnTo>
                    <a:lnTo>
                      <a:pt x="74306" y="103789"/>
                    </a:lnTo>
                    <a:close/>
                    <a:moveTo>
                      <a:pt x="71232" y="72363"/>
                    </a:moveTo>
                    <a:cubicBezTo>
                      <a:pt x="71296" y="74039"/>
                      <a:pt x="70526" y="77895"/>
                      <a:pt x="70850" y="78357"/>
                    </a:cubicBezTo>
                    <a:cubicBezTo>
                      <a:pt x="73034" y="81256"/>
                      <a:pt x="77441" y="81125"/>
                      <a:pt x="80029" y="83014"/>
                    </a:cubicBezTo>
                    <a:cubicBezTo>
                      <a:pt x="78155" y="88701"/>
                      <a:pt x="75901" y="95865"/>
                      <a:pt x="73715" y="99898"/>
                    </a:cubicBezTo>
                    <a:lnTo>
                      <a:pt x="71447" y="103789"/>
                    </a:lnTo>
                    <a:lnTo>
                      <a:pt x="48356" y="103789"/>
                    </a:lnTo>
                    <a:lnTo>
                      <a:pt x="45827" y="101110"/>
                    </a:lnTo>
                    <a:cubicBezTo>
                      <a:pt x="42859" y="97553"/>
                      <a:pt x="39054" y="90891"/>
                      <a:pt x="35905" y="85274"/>
                    </a:cubicBezTo>
                    <a:cubicBezTo>
                      <a:pt x="36914" y="84424"/>
                      <a:pt x="44051" y="81093"/>
                      <a:pt x="45412" y="79039"/>
                    </a:cubicBezTo>
                    <a:cubicBezTo>
                      <a:pt x="45504" y="77096"/>
                      <a:pt x="45588" y="75938"/>
                      <a:pt x="45291" y="72840"/>
                    </a:cubicBezTo>
                    <a:cubicBezTo>
                      <a:pt x="47288" y="74045"/>
                      <a:pt x="48769" y="75651"/>
                      <a:pt x="51283" y="76456"/>
                    </a:cubicBezTo>
                    <a:cubicBezTo>
                      <a:pt x="53798" y="77261"/>
                      <a:pt x="57548" y="78039"/>
                      <a:pt x="60377" y="77669"/>
                    </a:cubicBezTo>
                    <a:cubicBezTo>
                      <a:pt x="63207" y="77298"/>
                      <a:pt x="66450" y="75117"/>
                      <a:pt x="68259" y="74233"/>
                    </a:cubicBezTo>
                    <a:cubicBezTo>
                      <a:pt x="70068" y="73349"/>
                      <a:pt x="70313" y="72578"/>
                      <a:pt x="71232" y="72363"/>
                    </a:cubicBezTo>
                    <a:close/>
                    <a:moveTo>
                      <a:pt x="86982" y="26674"/>
                    </a:moveTo>
                    <a:lnTo>
                      <a:pt x="87523" y="27229"/>
                    </a:lnTo>
                    <a:cubicBezTo>
                      <a:pt x="88239" y="28639"/>
                      <a:pt x="89039" y="32808"/>
                      <a:pt x="89796" y="36323"/>
                    </a:cubicBezTo>
                    <a:cubicBezTo>
                      <a:pt x="90554" y="39838"/>
                      <a:pt x="91565" y="44406"/>
                      <a:pt x="92070" y="48322"/>
                    </a:cubicBezTo>
                    <a:cubicBezTo>
                      <a:pt x="92575" y="52237"/>
                      <a:pt x="92744" y="56700"/>
                      <a:pt x="92828" y="59816"/>
                    </a:cubicBezTo>
                    <a:cubicBezTo>
                      <a:pt x="92912" y="62931"/>
                      <a:pt x="92975" y="64952"/>
                      <a:pt x="92575" y="67015"/>
                    </a:cubicBezTo>
                    <a:cubicBezTo>
                      <a:pt x="92175" y="69078"/>
                      <a:pt x="91438" y="71204"/>
                      <a:pt x="90428" y="72193"/>
                    </a:cubicBezTo>
                    <a:cubicBezTo>
                      <a:pt x="89417" y="73183"/>
                      <a:pt x="88197" y="72909"/>
                      <a:pt x="86512" y="72951"/>
                    </a:cubicBezTo>
                    <a:cubicBezTo>
                      <a:pt x="84828" y="72993"/>
                      <a:pt x="82134" y="72804"/>
                      <a:pt x="80323" y="72446"/>
                    </a:cubicBezTo>
                    <a:cubicBezTo>
                      <a:pt x="78513" y="72088"/>
                      <a:pt x="76324" y="71372"/>
                      <a:pt x="75650" y="70804"/>
                    </a:cubicBezTo>
                    <a:cubicBezTo>
                      <a:pt x="74976" y="70236"/>
                      <a:pt x="75755" y="69899"/>
                      <a:pt x="76282" y="69036"/>
                    </a:cubicBezTo>
                    <a:cubicBezTo>
                      <a:pt x="76808" y="68173"/>
                      <a:pt x="77987" y="67162"/>
                      <a:pt x="78808" y="65626"/>
                    </a:cubicBezTo>
                    <a:cubicBezTo>
                      <a:pt x="79629" y="64089"/>
                      <a:pt x="80723" y="61205"/>
                      <a:pt x="81208" y="59816"/>
                    </a:cubicBezTo>
                    <a:cubicBezTo>
                      <a:pt x="81692" y="58426"/>
                      <a:pt x="81376" y="57984"/>
                      <a:pt x="81713" y="57289"/>
                    </a:cubicBezTo>
                    <a:cubicBezTo>
                      <a:pt x="82050" y="56595"/>
                      <a:pt x="82618" y="56995"/>
                      <a:pt x="83228" y="55648"/>
                    </a:cubicBezTo>
                    <a:cubicBezTo>
                      <a:pt x="83839" y="54300"/>
                      <a:pt x="84765" y="51416"/>
                      <a:pt x="85376" y="49206"/>
                    </a:cubicBezTo>
                    <a:cubicBezTo>
                      <a:pt x="85986" y="46996"/>
                      <a:pt x="86618" y="44028"/>
                      <a:pt x="86891" y="42386"/>
                    </a:cubicBezTo>
                    <a:cubicBezTo>
                      <a:pt x="87165" y="40744"/>
                      <a:pt x="87228" y="40323"/>
                      <a:pt x="87018" y="39354"/>
                    </a:cubicBezTo>
                    <a:cubicBezTo>
                      <a:pt x="86807" y="38386"/>
                      <a:pt x="86091" y="37249"/>
                      <a:pt x="85628" y="36576"/>
                    </a:cubicBezTo>
                    <a:cubicBezTo>
                      <a:pt x="85165" y="35902"/>
                      <a:pt x="84513" y="35944"/>
                      <a:pt x="84239" y="35313"/>
                    </a:cubicBezTo>
                    <a:cubicBezTo>
                      <a:pt x="83965" y="34681"/>
                      <a:pt x="83986" y="33713"/>
                      <a:pt x="83986" y="32786"/>
                    </a:cubicBezTo>
                    <a:cubicBezTo>
                      <a:pt x="83986" y="31860"/>
                      <a:pt x="83986" y="30576"/>
                      <a:pt x="84239" y="29755"/>
                    </a:cubicBezTo>
                    <a:cubicBezTo>
                      <a:pt x="84492" y="28934"/>
                      <a:pt x="84955" y="28282"/>
                      <a:pt x="85502" y="27861"/>
                    </a:cubicBezTo>
                    <a:cubicBezTo>
                      <a:pt x="85912" y="27545"/>
                      <a:pt x="86441" y="26554"/>
                      <a:pt x="86982" y="26674"/>
                    </a:cubicBezTo>
                    <a:close/>
                    <a:moveTo>
                      <a:pt x="50879" y="8152"/>
                    </a:moveTo>
                    <a:cubicBezTo>
                      <a:pt x="57346" y="24319"/>
                      <a:pt x="41583" y="28158"/>
                      <a:pt x="41785" y="36646"/>
                    </a:cubicBezTo>
                    <a:cubicBezTo>
                      <a:pt x="44008" y="26138"/>
                      <a:pt x="56538" y="25329"/>
                      <a:pt x="54113" y="15629"/>
                    </a:cubicBezTo>
                    <a:close/>
                    <a:moveTo>
                      <a:pt x="53894" y="0"/>
                    </a:moveTo>
                    <a:lnTo>
                      <a:pt x="57672" y="32"/>
                    </a:lnTo>
                    <a:cubicBezTo>
                      <a:pt x="59777" y="60"/>
                      <a:pt x="61012" y="4"/>
                      <a:pt x="62893" y="537"/>
                    </a:cubicBezTo>
                    <a:cubicBezTo>
                      <a:pt x="64773" y="1070"/>
                      <a:pt x="66794" y="1856"/>
                      <a:pt x="68956" y="3231"/>
                    </a:cubicBezTo>
                    <a:cubicBezTo>
                      <a:pt x="71117" y="4607"/>
                      <a:pt x="73362" y="6263"/>
                      <a:pt x="75860" y="8789"/>
                    </a:cubicBezTo>
                    <a:cubicBezTo>
                      <a:pt x="78359" y="11315"/>
                      <a:pt x="82092" y="15946"/>
                      <a:pt x="83944" y="18388"/>
                    </a:cubicBezTo>
                    <a:cubicBezTo>
                      <a:pt x="85797" y="20830"/>
                      <a:pt x="86695" y="22065"/>
                      <a:pt x="86976" y="23440"/>
                    </a:cubicBezTo>
                    <a:cubicBezTo>
                      <a:pt x="87256" y="24815"/>
                      <a:pt x="86330" y="25854"/>
                      <a:pt x="85628" y="26640"/>
                    </a:cubicBezTo>
                    <a:cubicBezTo>
                      <a:pt x="84927" y="27426"/>
                      <a:pt x="83579" y="28183"/>
                      <a:pt x="82765" y="28155"/>
                    </a:cubicBezTo>
                    <a:cubicBezTo>
                      <a:pt x="81951" y="28127"/>
                      <a:pt x="81839" y="27538"/>
                      <a:pt x="80744" y="26471"/>
                    </a:cubicBezTo>
                    <a:cubicBezTo>
                      <a:pt x="79650" y="25405"/>
                      <a:pt x="78302" y="23187"/>
                      <a:pt x="76197" y="21756"/>
                    </a:cubicBezTo>
                    <a:cubicBezTo>
                      <a:pt x="74092" y="20324"/>
                      <a:pt x="70920" y="18528"/>
                      <a:pt x="68114" y="17883"/>
                    </a:cubicBezTo>
                    <a:cubicBezTo>
                      <a:pt x="65307" y="17237"/>
                      <a:pt x="58915" y="17462"/>
                      <a:pt x="59356" y="17883"/>
                    </a:cubicBezTo>
                    <a:cubicBezTo>
                      <a:pt x="59797" y="18304"/>
                      <a:pt x="67370" y="18495"/>
                      <a:pt x="70760" y="20409"/>
                    </a:cubicBezTo>
                    <a:cubicBezTo>
                      <a:pt x="74150" y="22323"/>
                      <a:pt x="74512" y="22264"/>
                      <a:pt x="76318" y="23738"/>
                    </a:cubicBezTo>
                    <a:cubicBezTo>
                      <a:pt x="78123" y="25213"/>
                      <a:pt x="80370" y="27914"/>
                      <a:pt x="81593" y="29254"/>
                    </a:cubicBezTo>
                    <a:cubicBezTo>
                      <a:pt x="81104" y="31135"/>
                      <a:pt x="81159" y="30531"/>
                      <a:pt x="80845" y="32155"/>
                    </a:cubicBezTo>
                    <a:cubicBezTo>
                      <a:pt x="81536" y="33819"/>
                      <a:pt x="80845" y="38327"/>
                      <a:pt x="80845" y="38329"/>
                    </a:cubicBezTo>
                    <a:cubicBezTo>
                      <a:pt x="80849" y="38329"/>
                      <a:pt x="83734" y="38539"/>
                      <a:pt x="83734" y="40618"/>
                    </a:cubicBezTo>
                    <a:cubicBezTo>
                      <a:pt x="83734" y="42699"/>
                      <a:pt x="80658" y="54142"/>
                      <a:pt x="80657" y="54146"/>
                    </a:cubicBezTo>
                    <a:cubicBezTo>
                      <a:pt x="80655" y="54149"/>
                      <a:pt x="79839" y="55534"/>
                      <a:pt x="78898" y="55326"/>
                    </a:cubicBezTo>
                    <a:cubicBezTo>
                      <a:pt x="77903" y="63716"/>
                      <a:pt x="72681" y="67959"/>
                      <a:pt x="69744" y="70547"/>
                    </a:cubicBezTo>
                    <a:cubicBezTo>
                      <a:pt x="66994" y="73866"/>
                      <a:pt x="64667" y="74966"/>
                      <a:pt x="62196" y="75850"/>
                    </a:cubicBezTo>
                    <a:cubicBezTo>
                      <a:pt x="59726" y="76734"/>
                      <a:pt x="57846" y="76866"/>
                      <a:pt x="54921" y="75850"/>
                    </a:cubicBezTo>
                    <a:cubicBezTo>
                      <a:pt x="51996" y="74834"/>
                      <a:pt x="47663" y="73292"/>
                      <a:pt x="44647" y="69756"/>
                    </a:cubicBezTo>
                    <a:cubicBezTo>
                      <a:pt x="43831" y="68368"/>
                      <a:pt x="37016" y="62194"/>
                      <a:pt x="36827" y="54632"/>
                    </a:cubicBezTo>
                    <a:cubicBezTo>
                      <a:pt x="34190" y="54424"/>
                      <a:pt x="32683" y="46793"/>
                      <a:pt x="31679" y="42769"/>
                    </a:cubicBezTo>
                    <a:cubicBezTo>
                      <a:pt x="30863" y="39371"/>
                      <a:pt x="33686" y="39439"/>
                      <a:pt x="33688" y="39439"/>
                    </a:cubicBezTo>
                    <a:cubicBezTo>
                      <a:pt x="33686" y="39434"/>
                      <a:pt x="32098" y="36136"/>
                      <a:pt x="32770" y="33888"/>
                    </a:cubicBezTo>
                    <a:cubicBezTo>
                      <a:pt x="31290" y="34690"/>
                      <a:pt x="31152" y="35005"/>
                      <a:pt x="30558" y="35565"/>
                    </a:cubicBezTo>
                    <a:cubicBezTo>
                      <a:pt x="29965" y="36125"/>
                      <a:pt x="29632" y="36435"/>
                      <a:pt x="29211" y="37249"/>
                    </a:cubicBezTo>
                    <a:cubicBezTo>
                      <a:pt x="28790" y="38063"/>
                      <a:pt x="28144" y="39382"/>
                      <a:pt x="28032" y="40449"/>
                    </a:cubicBezTo>
                    <a:cubicBezTo>
                      <a:pt x="27920" y="41515"/>
                      <a:pt x="28313" y="42301"/>
                      <a:pt x="28537" y="43649"/>
                    </a:cubicBezTo>
                    <a:cubicBezTo>
                      <a:pt x="28762" y="44996"/>
                      <a:pt x="28902" y="46399"/>
                      <a:pt x="29379" y="48532"/>
                    </a:cubicBezTo>
                    <a:cubicBezTo>
                      <a:pt x="29857" y="50666"/>
                      <a:pt x="30699" y="54820"/>
                      <a:pt x="31400" y="56447"/>
                    </a:cubicBezTo>
                    <a:cubicBezTo>
                      <a:pt x="32102" y="58075"/>
                      <a:pt x="33000" y="57402"/>
                      <a:pt x="33590" y="58300"/>
                    </a:cubicBezTo>
                    <a:cubicBezTo>
                      <a:pt x="34179" y="59198"/>
                      <a:pt x="34179" y="60209"/>
                      <a:pt x="34937" y="61836"/>
                    </a:cubicBezTo>
                    <a:cubicBezTo>
                      <a:pt x="35695" y="63464"/>
                      <a:pt x="37379" y="66383"/>
                      <a:pt x="38137" y="68067"/>
                    </a:cubicBezTo>
                    <a:cubicBezTo>
                      <a:pt x="38895" y="69752"/>
                      <a:pt x="39877" y="71127"/>
                      <a:pt x="39484" y="71941"/>
                    </a:cubicBezTo>
                    <a:cubicBezTo>
                      <a:pt x="39091" y="72755"/>
                      <a:pt x="37295" y="72671"/>
                      <a:pt x="35779" y="72951"/>
                    </a:cubicBezTo>
                    <a:cubicBezTo>
                      <a:pt x="34263" y="73232"/>
                      <a:pt x="32102" y="73709"/>
                      <a:pt x="30390" y="73625"/>
                    </a:cubicBezTo>
                    <a:cubicBezTo>
                      <a:pt x="28678" y="73541"/>
                      <a:pt x="26685" y="73260"/>
                      <a:pt x="25506" y="72446"/>
                    </a:cubicBezTo>
                    <a:cubicBezTo>
                      <a:pt x="24327" y="71632"/>
                      <a:pt x="23850" y="70453"/>
                      <a:pt x="23317" y="68741"/>
                    </a:cubicBezTo>
                    <a:cubicBezTo>
                      <a:pt x="22783" y="67029"/>
                      <a:pt x="22419" y="64699"/>
                      <a:pt x="22306" y="62173"/>
                    </a:cubicBezTo>
                    <a:cubicBezTo>
                      <a:pt x="22194" y="59647"/>
                      <a:pt x="22138" y="58075"/>
                      <a:pt x="22643" y="53585"/>
                    </a:cubicBezTo>
                    <a:cubicBezTo>
                      <a:pt x="23148" y="49094"/>
                      <a:pt x="23850" y="41403"/>
                      <a:pt x="25338" y="35228"/>
                    </a:cubicBezTo>
                    <a:cubicBezTo>
                      <a:pt x="26825" y="29054"/>
                      <a:pt x="29660" y="21082"/>
                      <a:pt x="31569" y="16535"/>
                    </a:cubicBezTo>
                    <a:cubicBezTo>
                      <a:pt x="33477" y="11988"/>
                      <a:pt x="35077" y="10080"/>
                      <a:pt x="36789" y="7947"/>
                    </a:cubicBezTo>
                    <a:cubicBezTo>
                      <a:pt x="38502" y="5814"/>
                      <a:pt x="40242" y="4551"/>
                      <a:pt x="41842" y="3736"/>
                    </a:cubicBezTo>
                    <a:cubicBezTo>
                      <a:pt x="43442" y="2923"/>
                      <a:pt x="44985" y="3624"/>
                      <a:pt x="46389" y="3063"/>
                    </a:cubicBezTo>
                    <a:cubicBezTo>
                      <a:pt x="47792" y="2502"/>
                      <a:pt x="48354" y="874"/>
                      <a:pt x="50262" y="368"/>
                    </a:cubicBezTo>
                    <a:cubicBezTo>
                      <a:pt x="51217" y="116"/>
                      <a:pt x="52543" y="25"/>
                      <a:pt x="538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3380">
                  <a:defRPr/>
                </a:pPr>
                <a:endParaRPr lang="en-US" sz="2448">
                  <a:solidFill>
                    <a:prstClr val="white"/>
                  </a:solidFill>
                  <a:latin typeface="Segoe UI"/>
                </a:endParaRPr>
              </a:p>
            </p:txBody>
          </p:sp>
        </p:grpSp>
        <p:grpSp>
          <p:nvGrpSpPr>
            <p:cNvPr id="867" name="Group 866"/>
            <p:cNvGrpSpPr/>
            <p:nvPr/>
          </p:nvGrpSpPr>
          <p:grpSpPr>
            <a:xfrm>
              <a:off x="5201550" y="6766237"/>
              <a:ext cx="180975" cy="180975"/>
              <a:chOff x="2678461" y="11636877"/>
              <a:chExt cx="180975" cy="180975"/>
            </a:xfrm>
          </p:grpSpPr>
          <p:sp>
            <p:nvSpPr>
              <p:cNvPr id="881" name="Rectangle 880"/>
              <p:cNvSpPr>
                <a:spLocks noChangeAspect="1"/>
              </p:cNvSpPr>
              <p:nvPr/>
            </p:nvSpPr>
            <p:spPr bwMode="auto">
              <a:xfrm>
                <a:off x="2678461" y="11636877"/>
                <a:ext cx="180975" cy="18097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882" name="Freeform: Shape 763"/>
              <p:cNvSpPr/>
              <p:nvPr/>
            </p:nvSpPr>
            <p:spPr>
              <a:xfrm>
                <a:off x="2681270" y="11663002"/>
                <a:ext cx="175356" cy="154850"/>
              </a:xfrm>
              <a:custGeom>
                <a:avLst/>
                <a:gdLst>
                  <a:gd name="connsiteX0" fmla="*/ 33407 w 117532"/>
                  <a:gd name="connsiteY0" fmla="*/ 86265 h 103789"/>
                  <a:gd name="connsiteX1" fmla="*/ 40699 w 117532"/>
                  <a:gd name="connsiteY1" fmla="*/ 97471 h 103789"/>
                  <a:gd name="connsiteX2" fmla="*/ 45604 w 117532"/>
                  <a:gd name="connsiteY2" fmla="*/ 103789 h 103789"/>
                  <a:gd name="connsiteX3" fmla="*/ 0 w 117532"/>
                  <a:gd name="connsiteY3" fmla="*/ 103789 h 103789"/>
                  <a:gd name="connsiteX4" fmla="*/ 4413 w 117532"/>
                  <a:gd name="connsiteY4" fmla="*/ 97606 h 103789"/>
                  <a:gd name="connsiteX5" fmla="*/ 12017 w 117532"/>
                  <a:gd name="connsiteY5" fmla="*/ 94044 h 103789"/>
                  <a:gd name="connsiteX6" fmla="*/ 19949 w 117532"/>
                  <a:gd name="connsiteY6" fmla="*/ 91518 h 103789"/>
                  <a:gd name="connsiteX7" fmla="*/ 30558 w 117532"/>
                  <a:gd name="connsiteY7" fmla="*/ 87350 h 103789"/>
                  <a:gd name="connsiteX8" fmla="*/ 82840 w 117532"/>
                  <a:gd name="connsiteY8" fmla="*/ 84764 h 103789"/>
                  <a:gd name="connsiteX9" fmla="*/ 83734 w 117532"/>
                  <a:gd name="connsiteY9" fmla="*/ 85076 h 103789"/>
                  <a:gd name="connsiteX10" fmla="*/ 92828 w 117532"/>
                  <a:gd name="connsiteY10" fmla="*/ 87981 h 103789"/>
                  <a:gd name="connsiteX11" fmla="*/ 110587 w 117532"/>
                  <a:gd name="connsiteY11" fmla="*/ 93943 h 103789"/>
                  <a:gd name="connsiteX12" fmla="*/ 116321 w 117532"/>
                  <a:gd name="connsiteY12" fmla="*/ 100587 h 103789"/>
                  <a:gd name="connsiteX13" fmla="*/ 117532 w 117532"/>
                  <a:gd name="connsiteY13" fmla="*/ 103789 h 103789"/>
                  <a:gd name="connsiteX14" fmla="*/ 74306 w 117532"/>
                  <a:gd name="connsiteY14" fmla="*/ 103789 h 103789"/>
                  <a:gd name="connsiteX15" fmla="*/ 71232 w 117532"/>
                  <a:gd name="connsiteY15" fmla="*/ 72363 h 103789"/>
                  <a:gd name="connsiteX16" fmla="*/ 70850 w 117532"/>
                  <a:gd name="connsiteY16" fmla="*/ 78357 h 103789"/>
                  <a:gd name="connsiteX17" fmla="*/ 80029 w 117532"/>
                  <a:gd name="connsiteY17" fmla="*/ 83014 h 103789"/>
                  <a:gd name="connsiteX18" fmla="*/ 73715 w 117532"/>
                  <a:gd name="connsiteY18" fmla="*/ 99898 h 103789"/>
                  <a:gd name="connsiteX19" fmla="*/ 71447 w 117532"/>
                  <a:gd name="connsiteY19" fmla="*/ 103789 h 103789"/>
                  <a:gd name="connsiteX20" fmla="*/ 48356 w 117532"/>
                  <a:gd name="connsiteY20" fmla="*/ 103789 h 103789"/>
                  <a:gd name="connsiteX21" fmla="*/ 45827 w 117532"/>
                  <a:gd name="connsiteY21" fmla="*/ 101110 h 103789"/>
                  <a:gd name="connsiteX22" fmla="*/ 35905 w 117532"/>
                  <a:gd name="connsiteY22" fmla="*/ 85274 h 103789"/>
                  <a:gd name="connsiteX23" fmla="*/ 45412 w 117532"/>
                  <a:gd name="connsiteY23" fmla="*/ 79039 h 103789"/>
                  <a:gd name="connsiteX24" fmla="*/ 45291 w 117532"/>
                  <a:gd name="connsiteY24" fmla="*/ 72840 h 103789"/>
                  <a:gd name="connsiteX25" fmla="*/ 51283 w 117532"/>
                  <a:gd name="connsiteY25" fmla="*/ 76456 h 103789"/>
                  <a:gd name="connsiteX26" fmla="*/ 60377 w 117532"/>
                  <a:gd name="connsiteY26" fmla="*/ 77669 h 103789"/>
                  <a:gd name="connsiteX27" fmla="*/ 68259 w 117532"/>
                  <a:gd name="connsiteY27" fmla="*/ 74233 h 103789"/>
                  <a:gd name="connsiteX28" fmla="*/ 71232 w 117532"/>
                  <a:gd name="connsiteY28" fmla="*/ 72363 h 103789"/>
                  <a:gd name="connsiteX29" fmla="*/ 86982 w 117532"/>
                  <a:gd name="connsiteY29" fmla="*/ 26674 h 103789"/>
                  <a:gd name="connsiteX30" fmla="*/ 87523 w 117532"/>
                  <a:gd name="connsiteY30" fmla="*/ 27229 h 103789"/>
                  <a:gd name="connsiteX31" fmla="*/ 89796 w 117532"/>
                  <a:gd name="connsiteY31" fmla="*/ 36323 h 103789"/>
                  <a:gd name="connsiteX32" fmla="*/ 92070 w 117532"/>
                  <a:gd name="connsiteY32" fmla="*/ 48322 h 103789"/>
                  <a:gd name="connsiteX33" fmla="*/ 92828 w 117532"/>
                  <a:gd name="connsiteY33" fmla="*/ 59816 h 103789"/>
                  <a:gd name="connsiteX34" fmla="*/ 92575 w 117532"/>
                  <a:gd name="connsiteY34" fmla="*/ 67015 h 103789"/>
                  <a:gd name="connsiteX35" fmla="*/ 90428 w 117532"/>
                  <a:gd name="connsiteY35" fmla="*/ 72193 h 103789"/>
                  <a:gd name="connsiteX36" fmla="*/ 86512 w 117532"/>
                  <a:gd name="connsiteY36" fmla="*/ 72951 h 103789"/>
                  <a:gd name="connsiteX37" fmla="*/ 80323 w 117532"/>
                  <a:gd name="connsiteY37" fmla="*/ 72446 h 103789"/>
                  <a:gd name="connsiteX38" fmla="*/ 75650 w 117532"/>
                  <a:gd name="connsiteY38" fmla="*/ 70804 h 103789"/>
                  <a:gd name="connsiteX39" fmla="*/ 76282 w 117532"/>
                  <a:gd name="connsiteY39" fmla="*/ 69036 h 103789"/>
                  <a:gd name="connsiteX40" fmla="*/ 78808 w 117532"/>
                  <a:gd name="connsiteY40" fmla="*/ 65626 h 103789"/>
                  <a:gd name="connsiteX41" fmla="*/ 81208 w 117532"/>
                  <a:gd name="connsiteY41" fmla="*/ 59816 h 103789"/>
                  <a:gd name="connsiteX42" fmla="*/ 81713 w 117532"/>
                  <a:gd name="connsiteY42" fmla="*/ 57289 h 103789"/>
                  <a:gd name="connsiteX43" fmla="*/ 83228 w 117532"/>
                  <a:gd name="connsiteY43" fmla="*/ 55648 h 103789"/>
                  <a:gd name="connsiteX44" fmla="*/ 85376 w 117532"/>
                  <a:gd name="connsiteY44" fmla="*/ 49206 h 103789"/>
                  <a:gd name="connsiteX45" fmla="*/ 86891 w 117532"/>
                  <a:gd name="connsiteY45" fmla="*/ 42386 h 103789"/>
                  <a:gd name="connsiteX46" fmla="*/ 87018 w 117532"/>
                  <a:gd name="connsiteY46" fmla="*/ 39354 h 103789"/>
                  <a:gd name="connsiteX47" fmla="*/ 85628 w 117532"/>
                  <a:gd name="connsiteY47" fmla="*/ 36576 h 103789"/>
                  <a:gd name="connsiteX48" fmla="*/ 84239 w 117532"/>
                  <a:gd name="connsiteY48" fmla="*/ 35313 h 103789"/>
                  <a:gd name="connsiteX49" fmla="*/ 83986 w 117532"/>
                  <a:gd name="connsiteY49" fmla="*/ 32786 h 103789"/>
                  <a:gd name="connsiteX50" fmla="*/ 84239 w 117532"/>
                  <a:gd name="connsiteY50" fmla="*/ 29755 h 103789"/>
                  <a:gd name="connsiteX51" fmla="*/ 85502 w 117532"/>
                  <a:gd name="connsiteY51" fmla="*/ 27861 h 103789"/>
                  <a:gd name="connsiteX52" fmla="*/ 86982 w 117532"/>
                  <a:gd name="connsiteY52" fmla="*/ 26674 h 103789"/>
                  <a:gd name="connsiteX53" fmla="*/ 50879 w 117532"/>
                  <a:gd name="connsiteY53" fmla="*/ 8152 h 103789"/>
                  <a:gd name="connsiteX54" fmla="*/ 41785 w 117532"/>
                  <a:gd name="connsiteY54" fmla="*/ 36646 h 103789"/>
                  <a:gd name="connsiteX55" fmla="*/ 54113 w 117532"/>
                  <a:gd name="connsiteY55" fmla="*/ 15629 h 103789"/>
                  <a:gd name="connsiteX56" fmla="*/ 53894 w 117532"/>
                  <a:gd name="connsiteY56" fmla="*/ 0 h 103789"/>
                  <a:gd name="connsiteX57" fmla="*/ 57672 w 117532"/>
                  <a:gd name="connsiteY57" fmla="*/ 32 h 103789"/>
                  <a:gd name="connsiteX58" fmla="*/ 62893 w 117532"/>
                  <a:gd name="connsiteY58" fmla="*/ 537 h 103789"/>
                  <a:gd name="connsiteX59" fmla="*/ 68956 w 117532"/>
                  <a:gd name="connsiteY59" fmla="*/ 3231 h 103789"/>
                  <a:gd name="connsiteX60" fmla="*/ 75860 w 117532"/>
                  <a:gd name="connsiteY60" fmla="*/ 8789 h 103789"/>
                  <a:gd name="connsiteX61" fmla="*/ 83944 w 117532"/>
                  <a:gd name="connsiteY61" fmla="*/ 18388 h 103789"/>
                  <a:gd name="connsiteX62" fmla="*/ 86976 w 117532"/>
                  <a:gd name="connsiteY62" fmla="*/ 23440 h 103789"/>
                  <a:gd name="connsiteX63" fmla="*/ 85628 w 117532"/>
                  <a:gd name="connsiteY63" fmla="*/ 26640 h 103789"/>
                  <a:gd name="connsiteX64" fmla="*/ 82765 w 117532"/>
                  <a:gd name="connsiteY64" fmla="*/ 28155 h 103789"/>
                  <a:gd name="connsiteX65" fmla="*/ 80744 w 117532"/>
                  <a:gd name="connsiteY65" fmla="*/ 26471 h 103789"/>
                  <a:gd name="connsiteX66" fmla="*/ 76197 w 117532"/>
                  <a:gd name="connsiteY66" fmla="*/ 21756 h 103789"/>
                  <a:gd name="connsiteX67" fmla="*/ 68114 w 117532"/>
                  <a:gd name="connsiteY67" fmla="*/ 17883 h 103789"/>
                  <a:gd name="connsiteX68" fmla="*/ 59356 w 117532"/>
                  <a:gd name="connsiteY68" fmla="*/ 17883 h 103789"/>
                  <a:gd name="connsiteX69" fmla="*/ 70760 w 117532"/>
                  <a:gd name="connsiteY69" fmla="*/ 20409 h 103789"/>
                  <a:gd name="connsiteX70" fmla="*/ 76318 w 117532"/>
                  <a:gd name="connsiteY70" fmla="*/ 23738 h 103789"/>
                  <a:gd name="connsiteX71" fmla="*/ 81593 w 117532"/>
                  <a:gd name="connsiteY71" fmla="*/ 29254 h 103789"/>
                  <a:gd name="connsiteX72" fmla="*/ 80845 w 117532"/>
                  <a:gd name="connsiteY72" fmla="*/ 32155 h 103789"/>
                  <a:gd name="connsiteX73" fmla="*/ 80845 w 117532"/>
                  <a:gd name="connsiteY73" fmla="*/ 38329 h 103789"/>
                  <a:gd name="connsiteX74" fmla="*/ 83734 w 117532"/>
                  <a:gd name="connsiteY74" fmla="*/ 40618 h 103789"/>
                  <a:gd name="connsiteX75" fmla="*/ 80657 w 117532"/>
                  <a:gd name="connsiteY75" fmla="*/ 54146 h 103789"/>
                  <a:gd name="connsiteX76" fmla="*/ 78898 w 117532"/>
                  <a:gd name="connsiteY76" fmla="*/ 55326 h 103789"/>
                  <a:gd name="connsiteX77" fmla="*/ 69744 w 117532"/>
                  <a:gd name="connsiteY77" fmla="*/ 70547 h 103789"/>
                  <a:gd name="connsiteX78" fmla="*/ 62196 w 117532"/>
                  <a:gd name="connsiteY78" fmla="*/ 75850 h 103789"/>
                  <a:gd name="connsiteX79" fmla="*/ 54921 w 117532"/>
                  <a:gd name="connsiteY79" fmla="*/ 75850 h 103789"/>
                  <a:gd name="connsiteX80" fmla="*/ 44647 w 117532"/>
                  <a:gd name="connsiteY80" fmla="*/ 69756 h 103789"/>
                  <a:gd name="connsiteX81" fmla="*/ 36827 w 117532"/>
                  <a:gd name="connsiteY81" fmla="*/ 54632 h 103789"/>
                  <a:gd name="connsiteX82" fmla="*/ 31679 w 117532"/>
                  <a:gd name="connsiteY82" fmla="*/ 42769 h 103789"/>
                  <a:gd name="connsiteX83" fmla="*/ 33688 w 117532"/>
                  <a:gd name="connsiteY83" fmla="*/ 39439 h 103789"/>
                  <a:gd name="connsiteX84" fmla="*/ 32770 w 117532"/>
                  <a:gd name="connsiteY84" fmla="*/ 33888 h 103789"/>
                  <a:gd name="connsiteX85" fmla="*/ 30558 w 117532"/>
                  <a:gd name="connsiteY85" fmla="*/ 35565 h 103789"/>
                  <a:gd name="connsiteX86" fmla="*/ 29211 w 117532"/>
                  <a:gd name="connsiteY86" fmla="*/ 37249 h 103789"/>
                  <a:gd name="connsiteX87" fmla="*/ 28032 w 117532"/>
                  <a:gd name="connsiteY87" fmla="*/ 40449 h 103789"/>
                  <a:gd name="connsiteX88" fmla="*/ 28537 w 117532"/>
                  <a:gd name="connsiteY88" fmla="*/ 43649 h 103789"/>
                  <a:gd name="connsiteX89" fmla="*/ 29379 w 117532"/>
                  <a:gd name="connsiteY89" fmla="*/ 48532 h 103789"/>
                  <a:gd name="connsiteX90" fmla="*/ 31400 w 117532"/>
                  <a:gd name="connsiteY90" fmla="*/ 56447 h 103789"/>
                  <a:gd name="connsiteX91" fmla="*/ 33590 w 117532"/>
                  <a:gd name="connsiteY91" fmla="*/ 58300 h 103789"/>
                  <a:gd name="connsiteX92" fmla="*/ 34937 w 117532"/>
                  <a:gd name="connsiteY92" fmla="*/ 61836 h 103789"/>
                  <a:gd name="connsiteX93" fmla="*/ 38137 w 117532"/>
                  <a:gd name="connsiteY93" fmla="*/ 68067 h 103789"/>
                  <a:gd name="connsiteX94" fmla="*/ 39484 w 117532"/>
                  <a:gd name="connsiteY94" fmla="*/ 71941 h 103789"/>
                  <a:gd name="connsiteX95" fmla="*/ 35779 w 117532"/>
                  <a:gd name="connsiteY95" fmla="*/ 72951 h 103789"/>
                  <a:gd name="connsiteX96" fmla="*/ 30390 w 117532"/>
                  <a:gd name="connsiteY96" fmla="*/ 73625 h 103789"/>
                  <a:gd name="connsiteX97" fmla="*/ 25506 w 117532"/>
                  <a:gd name="connsiteY97" fmla="*/ 72446 h 103789"/>
                  <a:gd name="connsiteX98" fmla="*/ 23317 w 117532"/>
                  <a:gd name="connsiteY98" fmla="*/ 68741 h 103789"/>
                  <a:gd name="connsiteX99" fmla="*/ 22306 w 117532"/>
                  <a:gd name="connsiteY99" fmla="*/ 62173 h 103789"/>
                  <a:gd name="connsiteX100" fmla="*/ 22643 w 117532"/>
                  <a:gd name="connsiteY100" fmla="*/ 53585 h 103789"/>
                  <a:gd name="connsiteX101" fmla="*/ 25338 w 117532"/>
                  <a:gd name="connsiteY101" fmla="*/ 35228 h 103789"/>
                  <a:gd name="connsiteX102" fmla="*/ 31569 w 117532"/>
                  <a:gd name="connsiteY102" fmla="*/ 16535 h 103789"/>
                  <a:gd name="connsiteX103" fmla="*/ 36789 w 117532"/>
                  <a:gd name="connsiteY103" fmla="*/ 7947 h 103789"/>
                  <a:gd name="connsiteX104" fmla="*/ 41842 w 117532"/>
                  <a:gd name="connsiteY104" fmla="*/ 3736 h 103789"/>
                  <a:gd name="connsiteX105" fmla="*/ 46389 w 117532"/>
                  <a:gd name="connsiteY105" fmla="*/ 3063 h 103789"/>
                  <a:gd name="connsiteX106" fmla="*/ 50262 w 117532"/>
                  <a:gd name="connsiteY106" fmla="*/ 368 h 103789"/>
                  <a:gd name="connsiteX107" fmla="*/ 53894 w 117532"/>
                  <a:gd name="connsiteY107" fmla="*/ 0 h 10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7532" h="103789">
                    <a:moveTo>
                      <a:pt x="33407" y="86265"/>
                    </a:moveTo>
                    <a:cubicBezTo>
                      <a:pt x="35181" y="89188"/>
                      <a:pt x="37867" y="93387"/>
                      <a:pt x="40699" y="97471"/>
                    </a:cubicBezTo>
                    <a:lnTo>
                      <a:pt x="45604" y="103789"/>
                    </a:lnTo>
                    <a:lnTo>
                      <a:pt x="0" y="103789"/>
                    </a:lnTo>
                    <a:lnTo>
                      <a:pt x="4413" y="97606"/>
                    </a:lnTo>
                    <a:lnTo>
                      <a:pt x="12017" y="94044"/>
                    </a:lnTo>
                    <a:lnTo>
                      <a:pt x="19949" y="91518"/>
                    </a:lnTo>
                    <a:lnTo>
                      <a:pt x="30558" y="87350"/>
                    </a:lnTo>
                    <a:close/>
                    <a:moveTo>
                      <a:pt x="82840" y="84764"/>
                    </a:moveTo>
                    <a:lnTo>
                      <a:pt x="83734" y="85076"/>
                    </a:lnTo>
                    <a:lnTo>
                      <a:pt x="92828" y="87981"/>
                    </a:lnTo>
                    <a:lnTo>
                      <a:pt x="110587" y="93943"/>
                    </a:lnTo>
                    <a:cubicBezTo>
                      <a:pt x="110881" y="95080"/>
                      <a:pt x="115639" y="97732"/>
                      <a:pt x="116321" y="100587"/>
                    </a:cubicBezTo>
                    <a:lnTo>
                      <a:pt x="117532" y="103789"/>
                    </a:lnTo>
                    <a:lnTo>
                      <a:pt x="74306" y="103789"/>
                    </a:lnTo>
                    <a:close/>
                    <a:moveTo>
                      <a:pt x="71232" y="72363"/>
                    </a:moveTo>
                    <a:cubicBezTo>
                      <a:pt x="71296" y="74039"/>
                      <a:pt x="70526" y="77895"/>
                      <a:pt x="70850" y="78357"/>
                    </a:cubicBezTo>
                    <a:cubicBezTo>
                      <a:pt x="73034" y="81256"/>
                      <a:pt x="77441" y="81125"/>
                      <a:pt x="80029" y="83014"/>
                    </a:cubicBezTo>
                    <a:cubicBezTo>
                      <a:pt x="78155" y="88701"/>
                      <a:pt x="75901" y="95865"/>
                      <a:pt x="73715" y="99898"/>
                    </a:cubicBezTo>
                    <a:lnTo>
                      <a:pt x="71447" y="103789"/>
                    </a:lnTo>
                    <a:lnTo>
                      <a:pt x="48356" y="103789"/>
                    </a:lnTo>
                    <a:lnTo>
                      <a:pt x="45827" y="101110"/>
                    </a:lnTo>
                    <a:cubicBezTo>
                      <a:pt x="42859" y="97553"/>
                      <a:pt x="39054" y="90891"/>
                      <a:pt x="35905" y="85274"/>
                    </a:cubicBezTo>
                    <a:cubicBezTo>
                      <a:pt x="36914" y="84424"/>
                      <a:pt x="44051" y="81093"/>
                      <a:pt x="45412" y="79039"/>
                    </a:cubicBezTo>
                    <a:cubicBezTo>
                      <a:pt x="45504" y="77096"/>
                      <a:pt x="45588" y="75938"/>
                      <a:pt x="45291" y="72840"/>
                    </a:cubicBezTo>
                    <a:cubicBezTo>
                      <a:pt x="47288" y="74045"/>
                      <a:pt x="48769" y="75651"/>
                      <a:pt x="51283" y="76456"/>
                    </a:cubicBezTo>
                    <a:cubicBezTo>
                      <a:pt x="53798" y="77261"/>
                      <a:pt x="57548" y="78039"/>
                      <a:pt x="60377" y="77669"/>
                    </a:cubicBezTo>
                    <a:cubicBezTo>
                      <a:pt x="63207" y="77298"/>
                      <a:pt x="66450" y="75117"/>
                      <a:pt x="68259" y="74233"/>
                    </a:cubicBezTo>
                    <a:cubicBezTo>
                      <a:pt x="70068" y="73349"/>
                      <a:pt x="70313" y="72578"/>
                      <a:pt x="71232" y="72363"/>
                    </a:cubicBezTo>
                    <a:close/>
                    <a:moveTo>
                      <a:pt x="86982" y="26674"/>
                    </a:moveTo>
                    <a:lnTo>
                      <a:pt x="87523" y="27229"/>
                    </a:lnTo>
                    <a:cubicBezTo>
                      <a:pt x="88239" y="28639"/>
                      <a:pt x="89039" y="32808"/>
                      <a:pt x="89796" y="36323"/>
                    </a:cubicBezTo>
                    <a:cubicBezTo>
                      <a:pt x="90554" y="39838"/>
                      <a:pt x="91565" y="44406"/>
                      <a:pt x="92070" y="48322"/>
                    </a:cubicBezTo>
                    <a:cubicBezTo>
                      <a:pt x="92575" y="52237"/>
                      <a:pt x="92744" y="56700"/>
                      <a:pt x="92828" y="59816"/>
                    </a:cubicBezTo>
                    <a:cubicBezTo>
                      <a:pt x="92912" y="62931"/>
                      <a:pt x="92975" y="64952"/>
                      <a:pt x="92575" y="67015"/>
                    </a:cubicBezTo>
                    <a:cubicBezTo>
                      <a:pt x="92175" y="69078"/>
                      <a:pt x="91438" y="71204"/>
                      <a:pt x="90428" y="72193"/>
                    </a:cubicBezTo>
                    <a:cubicBezTo>
                      <a:pt x="89417" y="73183"/>
                      <a:pt x="88197" y="72909"/>
                      <a:pt x="86512" y="72951"/>
                    </a:cubicBezTo>
                    <a:cubicBezTo>
                      <a:pt x="84828" y="72993"/>
                      <a:pt x="82134" y="72804"/>
                      <a:pt x="80323" y="72446"/>
                    </a:cubicBezTo>
                    <a:cubicBezTo>
                      <a:pt x="78513" y="72088"/>
                      <a:pt x="76324" y="71372"/>
                      <a:pt x="75650" y="70804"/>
                    </a:cubicBezTo>
                    <a:cubicBezTo>
                      <a:pt x="74976" y="70236"/>
                      <a:pt x="75755" y="69899"/>
                      <a:pt x="76282" y="69036"/>
                    </a:cubicBezTo>
                    <a:cubicBezTo>
                      <a:pt x="76808" y="68173"/>
                      <a:pt x="77987" y="67162"/>
                      <a:pt x="78808" y="65626"/>
                    </a:cubicBezTo>
                    <a:cubicBezTo>
                      <a:pt x="79629" y="64089"/>
                      <a:pt x="80723" y="61205"/>
                      <a:pt x="81208" y="59816"/>
                    </a:cubicBezTo>
                    <a:cubicBezTo>
                      <a:pt x="81692" y="58426"/>
                      <a:pt x="81376" y="57984"/>
                      <a:pt x="81713" y="57289"/>
                    </a:cubicBezTo>
                    <a:cubicBezTo>
                      <a:pt x="82050" y="56595"/>
                      <a:pt x="82618" y="56995"/>
                      <a:pt x="83228" y="55648"/>
                    </a:cubicBezTo>
                    <a:cubicBezTo>
                      <a:pt x="83839" y="54300"/>
                      <a:pt x="84765" y="51416"/>
                      <a:pt x="85376" y="49206"/>
                    </a:cubicBezTo>
                    <a:cubicBezTo>
                      <a:pt x="85986" y="46996"/>
                      <a:pt x="86618" y="44028"/>
                      <a:pt x="86891" y="42386"/>
                    </a:cubicBezTo>
                    <a:cubicBezTo>
                      <a:pt x="87165" y="40744"/>
                      <a:pt x="87228" y="40323"/>
                      <a:pt x="87018" y="39354"/>
                    </a:cubicBezTo>
                    <a:cubicBezTo>
                      <a:pt x="86807" y="38386"/>
                      <a:pt x="86091" y="37249"/>
                      <a:pt x="85628" y="36576"/>
                    </a:cubicBezTo>
                    <a:cubicBezTo>
                      <a:pt x="85165" y="35902"/>
                      <a:pt x="84513" y="35944"/>
                      <a:pt x="84239" y="35313"/>
                    </a:cubicBezTo>
                    <a:cubicBezTo>
                      <a:pt x="83965" y="34681"/>
                      <a:pt x="83986" y="33713"/>
                      <a:pt x="83986" y="32786"/>
                    </a:cubicBezTo>
                    <a:cubicBezTo>
                      <a:pt x="83986" y="31860"/>
                      <a:pt x="83986" y="30576"/>
                      <a:pt x="84239" y="29755"/>
                    </a:cubicBezTo>
                    <a:cubicBezTo>
                      <a:pt x="84492" y="28934"/>
                      <a:pt x="84955" y="28282"/>
                      <a:pt x="85502" y="27861"/>
                    </a:cubicBezTo>
                    <a:cubicBezTo>
                      <a:pt x="85912" y="27545"/>
                      <a:pt x="86441" y="26554"/>
                      <a:pt x="86982" y="26674"/>
                    </a:cubicBezTo>
                    <a:close/>
                    <a:moveTo>
                      <a:pt x="50879" y="8152"/>
                    </a:moveTo>
                    <a:cubicBezTo>
                      <a:pt x="57346" y="24319"/>
                      <a:pt x="41583" y="28158"/>
                      <a:pt x="41785" y="36646"/>
                    </a:cubicBezTo>
                    <a:cubicBezTo>
                      <a:pt x="44008" y="26138"/>
                      <a:pt x="56538" y="25329"/>
                      <a:pt x="54113" y="15629"/>
                    </a:cubicBezTo>
                    <a:close/>
                    <a:moveTo>
                      <a:pt x="53894" y="0"/>
                    </a:moveTo>
                    <a:lnTo>
                      <a:pt x="57672" y="32"/>
                    </a:lnTo>
                    <a:cubicBezTo>
                      <a:pt x="59777" y="60"/>
                      <a:pt x="61012" y="4"/>
                      <a:pt x="62893" y="537"/>
                    </a:cubicBezTo>
                    <a:cubicBezTo>
                      <a:pt x="64773" y="1070"/>
                      <a:pt x="66794" y="1856"/>
                      <a:pt x="68956" y="3231"/>
                    </a:cubicBezTo>
                    <a:cubicBezTo>
                      <a:pt x="71117" y="4607"/>
                      <a:pt x="73362" y="6263"/>
                      <a:pt x="75860" y="8789"/>
                    </a:cubicBezTo>
                    <a:cubicBezTo>
                      <a:pt x="78359" y="11315"/>
                      <a:pt x="82092" y="15946"/>
                      <a:pt x="83944" y="18388"/>
                    </a:cubicBezTo>
                    <a:cubicBezTo>
                      <a:pt x="85797" y="20830"/>
                      <a:pt x="86695" y="22065"/>
                      <a:pt x="86976" y="23440"/>
                    </a:cubicBezTo>
                    <a:cubicBezTo>
                      <a:pt x="87256" y="24815"/>
                      <a:pt x="86330" y="25854"/>
                      <a:pt x="85628" y="26640"/>
                    </a:cubicBezTo>
                    <a:cubicBezTo>
                      <a:pt x="84927" y="27426"/>
                      <a:pt x="83579" y="28183"/>
                      <a:pt x="82765" y="28155"/>
                    </a:cubicBezTo>
                    <a:cubicBezTo>
                      <a:pt x="81951" y="28127"/>
                      <a:pt x="81839" y="27538"/>
                      <a:pt x="80744" y="26471"/>
                    </a:cubicBezTo>
                    <a:cubicBezTo>
                      <a:pt x="79650" y="25405"/>
                      <a:pt x="78302" y="23187"/>
                      <a:pt x="76197" y="21756"/>
                    </a:cubicBezTo>
                    <a:cubicBezTo>
                      <a:pt x="74092" y="20324"/>
                      <a:pt x="70920" y="18528"/>
                      <a:pt x="68114" y="17883"/>
                    </a:cubicBezTo>
                    <a:cubicBezTo>
                      <a:pt x="65307" y="17237"/>
                      <a:pt x="58915" y="17462"/>
                      <a:pt x="59356" y="17883"/>
                    </a:cubicBezTo>
                    <a:cubicBezTo>
                      <a:pt x="59797" y="18304"/>
                      <a:pt x="67370" y="18495"/>
                      <a:pt x="70760" y="20409"/>
                    </a:cubicBezTo>
                    <a:cubicBezTo>
                      <a:pt x="74150" y="22323"/>
                      <a:pt x="74512" y="22264"/>
                      <a:pt x="76318" y="23738"/>
                    </a:cubicBezTo>
                    <a:cubicBezTo>
                      <a:pt x="78123" y="25213"/>
                      <a:pt x="80370" y="27914"/>
                      <a:pt x="81593" y="29254"/>
                    </a:cubicBezTo>
                    <a:cubicBezTo>
                      <a:pt x="81104" y="31135"/>
                      <a:pt x="81159" y="30531"/>
                      <a:pt x="80845" y="32155"/>
                    </a:cubicBezTo>
                    <a:cubicBezTo>
                      <a:pt x="81536" y="33819"/>
                      <a:pt x="80845" y="38327"/>
                      <a:pt x="80845" y="38329"/>
                    </a:cubicBezTo>
                    <a:cubicBezTo>
                      <a:pt x="80849" y="38329"/>
                      <a:pt x="83734" y="38539"/>
                      <a:pt x="83734" y="40618"/>
                    </a:cubicBezTo>
                    <a:cubicBezTo>
                      <a:pt x="83734" y="42699"/>
                      <a:pt x="80658" y="54142"/>
                      <a:pt x="80657" y="54146"/>
                    </a:cubicBezTo>
                    <a:cubicBezTo>
                      <a:pt x="80655" y="54149"/>
                      <a:pt x="79839" y="55534"/>
                      <a:pt x="78898" y="55326"/>
                    </a:cubicBezTo>
                    <a:cubicBezTo>
                      <a:pt x="77903" y="63716"/>
                      <a:pt x="72681" y="67959"/>
                      <a:pt x="69744" y="70547"/>
                    </a:cubicBezTo>
                    <a:cubicBezTo>
                      <a:pt x="66994" y="73866"/>
                      <a:pt x="64667" y="74966"/>
                      <a:pt x="62196" y="75850"/>
                    </a:cubicBezTo>
                    <a:cubicBezTo>
                      <a:pt x="59726" y="76734"/>
                      <a:pt x="57846" y="76866"/>
                      <a:pt x="54921" y="75850"/>
                    </a:cubicBezTo>
                    <a:cubicBezTo>
                      <a:pt x="51996" y="74834"/>
                      <a:pt x="47663" y="73292"/>
                      <a:pt x="44647" y="69756"/>
                    </a:cubicBezTo>
                    <a:cubicBezTo>
                      <a:pt x="43831" y="68368"/>
                      <a:pt x="37016" y="62194"/>
                      <a:pt x="36827" y="54632"/>
                    </a:cubicBezTo>
                    <a:cubicBezTo>
                      <a:pt x="34190" y="54424"/>
                      <a:pt x="32683" y="46793"/>
                      <a:pt x="31679" y="42769"/>
                    </a:cubicBezTo>
                    <a:cubicBezTo>
                      <a:pt x="30863" y="39371"/>
                      <a:pt x="33686" y="39439"/>
                      <a:pt x="33688" y="39439"/>
                    </a:cubicBezTo>
                    <a:cubicBezTo>
                      <a:pt x="33686" y="39434"/>
                      <a:pt x="32098" y="36136"/>
                      <a:pt x="32770" y="33888"/>
                    </a:cubicBezTo>
                    <a:cubicBezTo>
                      <a:pt x="31290" y="34690"/>
                      <a:pt x="31152" y="35005"/>
                      <a:pt x="30558" y="35565"/>
                    </a:cubicBezTo>
                    <a:cubicBezTo>
                      <a:pt x="29965" y="36125"/>
                      <a:pt x="29632" y="36435"/>
                      <a:pt x="29211" y="37249"/>
                    </a:cubicBezTo>
                    <a:cubicBezTo>
                      <a:pt x="28790" y="38063"/>
                      <a:pt x="28144" y="39382"/>
                      <a:pt x="28032" y="40449"/>
                    </a:cubicBezTo>
                    <a:cubicBezTo>
                      <a:pt x="27920" y="41515"/>
                      <a:pt x="28313" y="42301"/>
                      <a:pt x="28537" y="43649"/>
                    </a:cubicBezTo>
                    <a:cubicBezTo>
                      <a:pt x="28762" y="44996"/>
                      <a:pt x="28902" y="46399"/>
                      <a:pt x="29379" y="48532"/>
                    </a:cubicBezTo>
                    <a:cubicBezTo>
                      <a:pt x="29857" y="50666"/>
                      <a:pt x="30699" y="54820"/>
                      <a:pt x="31400" y="56447"/>
                    </a:cubicBezTo>
                    <a:cubicBezTo>
                      <a:pt x="32102" y="58075"/>
                      <a:pt x="33000" y="57402"/>
                      <a:pt x="33590" y="58300"/>
                    </a:cubicBezTo>
                    <a:cubicBezTo>
                      <a:pt x="34179" y="59198"/>
                      <a:pt x="34179" y="60209"/>
                      <a:pt x="34937" y="61836"/>
                    </a:cubicBezTo>
                    <a:cubicBezTo>
                      <a:pt x="35695" y="63464"/>
                      <a:pt x="37379" y="66383"/>
                      <a:pt x="38137" y="68067"/>
                    </a:cubicBezTo>
                    <a:cubicBezTo>
                      <a:pt x="38895" y="69752"/>
                      <a:pt x="39877" y="71127"/>
                      <a:pt x="39484" y="71941"/>
                    </a:cubicBezTo>
                    <a:cubicBezTo>
                      <a:pt x="39091" y="72755"/>
                      <a:pt x="37295" y="72671"/>
                      <a:pt x="35779" y="72951"/>
                    </a:cubicBezTo>
                    <a:cubicBezTo>
                      <a:pt x="34263" y="73232"/>
                      <a:pt x="32102" y="73709"/>
                      <a:pt x="30390" y="73625"/>
                    </a:cubicBezTo>
                    <a:cubicBezTo>
                      <a:pt x="28678" y="73541"/>
                      <a:pt x="26685" y="73260"/>
                      <a:pt x="25506" y="72446"/>
                    </a:cubicBezTo>
                    <a:cubicBezTo>
                      <a:pt x="24327" y="71632"/>
                      <a:pt x="23850" y="70453"/>
                      <a:pt x="23317" y="68741"/>
                    </a:cubicBezTo>
                    <a:cubicBezTo>
                      <a:pt x="22783" y="67029"/>
                      <a:pt x="22419" y="64699"/>
                      <a:pt x="22306" y="62173"/>
                    </a:cubicBezTo>
                    <a:cubicBezTo>
                      <a:pt x="22194" y="59647"/>
                      <a:pt x="22138" y="58075"/>
                      <a:pt x="22643" y="53585"/>
                    </a:cubicBezTo>
                    <a:cubicBezTo>
                      <a:pt x="23148" y="49094"/>
                      <a:pt x="23850" y="41403"/>
                      <a:pt x="25338" y="35228"/>
                    </a:cubicBezTo>
                    <a:cubicBezTo>
                      <a:pt x="26825" y="29054"/>
                      <a:pt x="29660" y="21082"/>
                      <a:pt x="31569" y="16535"/>
                    </a:cubicBezTo>
                    <a:cubicBezTo>
                      <a:pt x="33477" y="11988"/>
                      <a:pt x="35077" y="10080"/>
                      <a:pt x="36789" y="7947"/>
                    </a:cubicBezTo>
                    <a:cubicBezTo>
                      <a:pt x="38502" y="5814"/>
                      <a:pt x="40242" y="4551"/>
                      <a:pt x="41842" y="3736"/>
                    </a:cubicBezTo>
                    <a:cubicBezTo>
                      <a:pt x="43442" y="2923"/>
                      <a:pt x="44985" y="3624"/>
                      <a:pt x="46389" y="3063"/>
                    </a:cubicBezTo>
                    <a:cubicBezTo>
                      <a:pt x="47792" y="2502"/>
                      <a:pt x="48354" y="874"/>
                      <a:pt x="50262" y="368"/>
                    </a:cubicBezTo>
                    <a:cubicBezTo>
                      <a:pt x="51217" y="116"/>
                      <a:pt x="52543" y="25"/>
                      <a:pt x="538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3380">
                  <a:defRPr/>
                </a:pPr>
                <a:endParaRPr lang="en-US" sz="2448">
                  <a:solidFill>
                    <a:prstClr val="white"/>
                  </a:solidFill>
                  <a:latin typeface="Segoe UI"/>
                </a:endParaRPr>
              </a:p>
            </p:txBody>
          </p:sp>
        </p:grpSp>
        <p:grpSp>
          <p:nvGrpSpPr>
            <p:cNvPr id="868" name="Group 867"/>
            <p:cNvGrpSpPr/>
            <p:nvPr/>
          </p:nvGrpSpPr>
          <p:grpSpPr>
            <a:xfrm>
              <a:off x="5201550" y="6240417"/>
              <a:ext cx="180975" cy="180975"/>
              <a:chOff x="2678461" y="11636877"/>
              <a:chExt cx="180975" cy="180975"/>
            </a:xfrm>
          </p:grpSpPr>
          <p:sp>
            <p:nvSpPr>
              <p:cNvPr id="879" name="Rectangle 878"/>
              <p:cNvSpPr>
                <a:spLocks noChangeAspect="1"/>
              </p:cNvSpPr>
              <p:nvPr/>
            </p:nvSpPr>
            <p:spPr bwMode="auto">
              <a:xfrm>
                <a:off x="2678461" y="11636877"/>
                <a:ext cx="180975" cy="18097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880" name="Freeform: Shape 761"/>
              <p:cNvSpPr/>
              <p:nvPr/>
            </p:nvSpPr>
            <p:spPr>
              <a:xfrm>
                <a:off x="2681270" y="11663002"/>
                <a:ext cx="175356" cy="154850"/>
              </a:xfrm>
              <a:custGeom>
                <a:avLst/>
                <a:gdLst>
                  <a:gd name="connsiteX0" fmla="*/ 33407 w 117532"/>
                  <a:gd name="connsiteY0" fmla="*/ 86265 h 103789"/>
                  <a:gd name="connsiteX1" fmla="*/ 40699 w 117532"/>
                  <a:gd name="connsiteY1" fmla="*/ 97471 h 103789"/>
                  <a:gd name="connsiteX2" fmla="*/ 45604 w 117532"/>
                  <a:gd name="connsiteY2" fmla="*/ 103789 h 103789"/>
                  <a:gd name="connsiteX3" fmla="*/ 0 w 117532"/>
                  <a:gd name="connsiteY3" fmla="*/ 103789 h 103789"/>
                  <a:gd name="connsiteX4" fmla="*/ 4413 w 117532"/>
                  <a:gd name="connsiteY4" fmla="*/ 97606 h 103789"/>
                  <a:gd name="connsiteX5" fmla="*/ 12017 w 117532"/>
                  <a:gd name="connsiteY5" fmla="*/ 94044 h 103789"/>
                  <a:gd name="connsiteX6" fmla="*/ 19949 w 117532"/>
                  <a:gd name="connsiteY6" fmla="*/ 91518 h 103789"/>
                  <a:gd name="connsiteX7" fmla="*/ 30558 w 117532"/>
                  <a:gd name="connsiteY7" fmla="*/ 87350 h 103789"/>
                  <a:gd name="connsiteX8" fmla="*/ 82840 w 117532"/>
                  <a:gd name="connsiteY8" fmla="*/ 84764 h 103789"/>
                  <a:gd name="connsiteX9" fmla="*/ 83734 w 117532"/>
                  <a:gd name="connsiteY9" fmla="*/ 85076 h 103789"/>
                  <a:gd name="connsiteX10" fmla="*/ 92828 w 117532"/>
                  <a:gd name="connsiteY10" fmla="*/ 87981 h 103789"/>
                  <a:gd name="connsiteX11" fmla="*/ 110587 w 117532"/>
                  <a:gd name="connsiteY11" fmla="*/ 93943 h 103789"/>
                  <a:gd name="connsiteX12" fmla="*/ 116321 w 117532"/>
                  <a:gd name="connsiteY12" fmla="*/ 100587 h 103789"/>
                  <a:gd name="connsiteX13" fmla="*/ 117532 w 117532"/>
                  <a:gd name="connsiteY13" fmla="*/ 103789 h 103789"/>
                  <a:gd name="connsiteX14" fmla="*/ 74306 w 117532"/>
                  <a:gd name="connsiteY14" fmla="*/ 103789 h 103789"/>
                  <a:gd name="connsiteX15" fmla="*/ 71232 w 117532"/>
                  <a:gd name="connsiteY15" fmla="*/ 72363 h 103789"/>
                  <a:gd name="connsiteX16" fmla="*/ 70850 w 117532"/>
                  <a:gd name="connsiteY16" fmla="*/ 78357 h 103789"/>
                  <a:gd name="connsiteX17" fmla="*/ 80029 w 117532"/>
                  <a:gd name="connsiteY17" fmla="*/ 83014 h 103789"/>
                  <a:gd name="connsiteX18" fmla="*/ 73715 w 117532"/>
                  <a:gd name="connsiteY18" fmla="*/ 99898 h 103789"/>
                  <a:gd name="connsiteX19" fmla="*/ 71447 w 117532"/>
                  <a:gd name="connsiteY19" fmla="*/ 103789 h 103789"/>
                  <a:gd name="connsiteX20" fmla="*/ 48356 w 117532"/>
                  <a:gd name="connsiteY20" fmla="*/ 103789 h 103789"/>
                  <a:gd name="connsiteX21" fmla="*/ 45827 w 117532"/>
                  <a:gd name="connsiteY21" fmla="*/ 101110 h 103789"/>
                  <a:gd name="connsiteX22" fmla="*/ 35905 w 117532"/>
                  <a:gd name="connsiteY22" fmla="*/ 85274 h 103789"/>
                  <a:gd name="connsiteX23" fmla="*/ 45412 w 117532"/>
                  <a:gd name="connsiteY23" fmla="*/ 79039 h 103789"/>
                  <a:gd name="connsiteX24" fmla="*/ 45291 w 117532"/>
                  <a:gd name="connsiteY24" fmla="*/ 72840 h 103789"/>
                  <a:gd name="connsiteX25" fmla="*/ 51283 w 117532"/>
                  <a:gd name="connsiteY25" fmla="*/ 76456 h 103789"/>
                  <a:gd name="connsiteX26" fmla="*/ 60377 w 117532"/>
                  <a:gd name="connsiteY26" fmla="*/ 77669 h 103789"/>
                  <a:gd name="connsiteX27" fmla="*/ 68259 w 117532"/>
                  <a:gd name="connsiteY27" fmla="*/ 74233 h 103789"/>
                  <a:gd name="connsiteX28" fmla="*/ 71232 w 117532"/>
                  <a:gd name="connsiteY28" fmla="*/ 72363 h 103789"/>
                  <a:gd name="connsiteX29" fmla="*/ 86982 w 117532"/>
                  <a:gd name="connsiteY29" fmla="*/ 26674 h 103789"/>
                  <a:gd name="connsiteX30" fmla="*/ 87523 w 117532"/>
                  <a:gd name="connsiteY30" fmla="*/ 27229 h 103789"/>
                  <a:gd name="connsiteX31" fmla="*/ 89796 w 117532"/>
                  <a:gd name="connsiteY31" fmla="*/ 36323 h 103789"/>
                  <a:gd name="connsiteX32" fmla="*/ 92070 w 117532"/>
                  <a:gd name="connsiteY32" fmla="*/ 48322 h 103789"/>
                  <a:gd name="connsiteX33" fmla="*/ 92828 w 117532"/>
                  <a:gd name="connsiteY33" fmla="*/ 59816 h 103789"/>
                  <a:gd name="connsiteX34" fmla="*/ 92575 w 117532"/>
                  <a:gd name="connsiteY34" fmla="*/ 67015 h 103789"/>
                  <a:gd name="connsiteX35" fmla="*/ 90428 w 117532"/>
                  <a:gd name="connsiteY35" fmla="*/ 72193 h 103789"/>
                  <a:gd name="connsiteX36" fmla="*/ 86512 w 117532"/>
                  <a:gd name="connsiteY36" fmla="*/ 72951 h 103789"/>
                  <a:gd name="connsiteX37" fmla="*/ 80323 w 117532"/>
                  <a:gd name="connsiteY37" fmla="*/ 72446 h 103789"/>
                  <a:gd name="connsiteX38" fmla="*/ 75650 w 117532"/>
                  <a:gd name="connsiteY38" fmla="*/ 70804 h 103789"/>
                  <a:gd name="connsiteX39" fmla="*/ 76282 w 117532"/>
                  <a:gd name="connsiteY39" fmla="*/ 69036 h 103789"/>
                  <a:gd name="connsiteX40" fmla="*/ 78808 w 117532"/>
                  <a:gd name="connsiteY40" fmla="*/ 65626 h 103789"/>
                  <a:gd name="connsiteX41" fmla="*/ 81208 w 117532"/>
                  <a:gd name="connsiteY41" fmla="*/ 59816 h 103789"/>
                  <a:gd name="connsiteX42" fmla="*/ 81713 w 117532"/>
                  <a:gd name="connsiteY42" fmla="*/ 57289 h 103789"/>
                  <a:gd name="connsiteX43" fmla="*/ 83228 w 117532"/>
                  <a:gd name="connsiteY43" fmla="*/ 55648 h 103789"/>
                  <a:gd name="connsiteX44" fmla="*/ 85376 w 117532"/>
                  <a:gd name="connsiteY44" fmla="*/ 49206 h 103789"/>
                  <a:gd name="connsiteX45" fmla="*/ 86891 w 117532"/>
                  <a:gd name="connsiteY45" fmla="*/ 42386 h 103789"/>
                  <a:gd name="connsiteX46" fmla="*/ 87018 w 117532"/>
                  <a:gd name="connsiteY46" fmla="*/ 39354 h 103789"/>
                  <a:gd name="connsiteX47" fmla="*/ 85628 w 117532"/>
                  <a:gd name="connsiteY47" fmla="*/ 36576 h 103789"/>
                  <a:gd name="connsiteX48" fmla="*/ 84239 w 117532"/>
                  <a:gd name="connsiteY48" fmla="*/ 35313 h 103789"/>
                  <a:gd name="connsiteX49" fmla="*/ 83986 w 117532"/>
                  <a:gd name="connsiteY49" fmla="*/ 32786 h 103789"/>
                  <a:gd name="connsiteX50" fmla="*/ 84239 w 117532"/>
                  <a:gd name="connsiteY50" fmla="*/ 29755 h 103789"/>
                  <a:gd name="connsiteX51" fmla="*/ 85502 w 117532"/>
                  <a:gd name="connsiteY51" fmla="*/ 27861 h 103789"/>
                  <a:gd name="connsiteX52" fmla="*/ 86982 w 117532"/>
                  <a:gd name="connsiteY52" fmla="*/ 26674 h 103789"/>
                  <a:gd name="connsiteX53" fmla="*/ 50879 w 117532"/>
                  <a:gd name="connsiteY53" fmla="*/ 8152 h 103789"/>
                  <a:gd name="connsiteX54" fmla="*/ 41785 w 117532"/>
                  <a:gd name="connsiteY54" fmla="*/ 36646 h 103789"/>
                  <a:gd name="connsiteX55" fmla="*/ 54113 w 117532"/>
                  <a:gd name="connsiteY55" fmla="*/ 15629 h 103789"/>
                  <a:gd name="connsiteX56" fmla="*/ 53894 w 117532"/>
                  <a:gd name="connsiteY56" fmla="*/ 0 h 103789"/>
                  <a:gd name="connsiteX57" fmla="*/ 57672 w 117532"/>
                  <a:gd name="connsiteY57" fmla="*/ 32 h 103789"/>
                  <a:gd name="connsiteX58" fmla="*/ 62893 w 117532"/>
                  <a:gd name="connsiteY58" fmla="*/ 537 h 103789"/>
                  <a:gd name="connsiteX59" fmla="*/ 68956 w 117532"/>
                  <a:gd name="connsiteY59" fmla="*/ 3231 h 103789"/>
                  <a:gd name="connsiteX60" fmla="*/ 75860 w 117532"/>
                  <a:gd name="connsiteY60" fmla="*/ 8789 h 103789"/>
                  <a:gd name="connsiteX61" fmla="*/ 83944 w 117532"/>
                  <a:gd name="connsiteY61" fmla="*/ 18388 h 103789"/>
                  <a:gd name="connsiteX62" fmla="*/ 86976 w 117532"/>
                  <a:gd name="connsiteY62" fmla="*/ 23440 h 103789"/>
                  <a:gd name="connsiteX63" fmla="*/ 85628 w 117532"/>
                  <a:gd name="connsiteY63" fmla="*/ 26640 h 103789"/>
                  <a:gd name="connsiteX64" fmla="*/ 82765 w 117532"/>
                  <a:gd name="connsiteY64" fmla="*/ 28155 h 103789"/>
                  <a:gd name="connsiteX65" fmla="*/ 80744 w 117532"/>
                  <a:gd name="connsiteY65" fmla="*/ 26471 h 103789"/>
                  <a:gd name="connsiteX66" fmla="*/ 76197 w 117532"/>
                  <a:gd name="connsiteY66" fmla="*/ 21756 h 103789"/>
                  <a:gd name="connsiteX67" fmla="*/ 68114 w 117532"/>
                  <a:gd name="connsiteY67" fmla="*/ 17883 h 103789"/>
                  <a:gd name="connsiteX68" fmla="*/ 59356 w 117532"/>
                  <a:gd name="connsiteY68" fmla="*/ 17883 h 103789"/>
                  <a:gd name="connsiteX69" fmla="*/ 70760 w 117532"/>
                  <a:gd name="connsiteY69" fmla="*/ 20409 h 103789"/>
                  <a:gd name="connsiteX70" fmla="*/ 76318 w 117532"/>
                  <a:gd name="connsiteY70" fmla="*/ 23738 h 103789"/>
                  <a:gd name="connsiteX71" fmla="*/ 81593 w 117532"/>
                  <a:gd name="connsiteY71" fmla="*/ 29254 h 103789"/>
                  <a:gd name="connsiteX72" fmla="*/ 80845 w 117532"/>
                  <a:gd name="connsiteY72" fmla="*/ 32155 h 103789"/>
                  <a:gd name="connsiteX73" fmla="*/ 80845 w 117532"/>
                  <a:gd name="connsiteY73" fmla="*/ 38329 h 103789"/>
                  <a:gd name="connsiteX74" fmla="*/ 83734 w 117532"/>
                  <a:gd name="connsiteY74" fmla="*/ 40618 h 103789"/>
                  <a:gd name="connsiteX75" fmla="*/ 80657 w 117532"/>
                  <a:gd name="connsiteY75" fmla="*/ 54146 h 103789"/>
                  <a:gd name="connsiteX76" fmla="*/ 78898 w 117532"/>
                  <a:gd name="connsiteY76" fmla="*/ 55326 h 103789"/>
                  <a:gd name="connsiteX77" fmla="*/ 69744 w 117532"/>
                  <a:gd name="connsiteY77" fmla="*/ 70547 h 103789"/>
                  <a:gd name="connsiteX78" fmla="*/ 62196 w 117532"/>
                  <a:gd name="connsiteY78" fmla="*/ 75850 h 103789"/>
                  <a:gd name="connsiteX79" fmla="*/ 54921 w 117532"/>
                  <a:gd name="connsiteY79" fmla="*/ 75850 h 103789"/>
                  <a:gd name="connsiteX80" fmla="*/ 44647 w 117532"/>
                  <a:gd name="connsiteY80" fmla="*/ 69756 h 103789"/>
                  <a:gd name="connsiteX81" fmla="*/ 36827 w 117532"/>
                  <a:gd name="connsiteY81" fmla="*/ 54632 h 103789"/>
                  <a:gd name="connsiteX82" fmla="*/ 31679 w 117532"/>
                  <a:gd name="connsiteY82" fmla="*/ 42769 h 103789"/>
                  <a:gd name="connsiteX83" fmla="*/ 33688 w 117532"/>
                  <a:gd name="connsiteY83" fmla="*/ 39439 h 103789"/>
                  <a:gd name="connsiteX84" fmla="*/ 32770 w 117532"/>
                  <a:gd name="connsiteY84" fmla="*/ 33888 h 103789"/>
                  <a:gd name="connsiteX85" fmla="*/ 30558 w 117532"/>
                  <a:gd name="connsiteY85" fmla="*/ 35565 h 103789"/>
                  <a:gd name="connsiteX86" fmla="*/ 29211 w 117532"/>
                  <a:gd name="connsiteY86" fmla="*/ 37249 h 103789"/>
                  <a:gd name="connsiteX87" fmla="*/ 28032 w 117532"/>
                  <a:gd name="connsiteY87" fmla="*/ 40449 h 103789"/>
                  <a:gd name="connsiteX88" fmla="*/ 28537 w 117532"/>
                  <a:gd name="connsiteY88" fmla="*/ 43649 h 103789"/>
                  <a:gd name="connsiteX89" fmla="*/ 29379 w 117532"/>
                  <a:gd name="connsiteY89" fmla="*/ 48532 h 103789"/>
                  <a:gd name="connsiteX90" fmla="*/ 31400 w 117532"/>
                  <a:gd name="connsiteY90" fmla="*/ 56447 h 103789"/>
                  <a:gd name="connsiteX91" fmla="*/ 33590 w 117532"/>
                  <a:gd name="connsiteY91" fmla="*/ 58300 h 103789"/>
                  <a:gd name="connsiteX92" fmla="*/ 34937 w 117532"/>
                  <a:gd name="connsiteY92" fmla="*/ 61836 h 103789"/>
                  <a:gd name="connsiteX93" fmla="*/ 38137 w 117532"/>
                  <a:gd name="connsiteY93" fmla="*/ 68067 h 103789"/>
                  <a:gd name="connsiteX94" fmla="*/ 39484 w 117532"/>
                  <a:gd name="connsiteY94" fmla="*/ 71941 h 103789"/>
                  <a:gd name="connsiteX95" fmla="*/ 35779 w 117532"/>
                  <a:gd name="connsiteY95" fmla="*/ 72951 h 103789"/>
                  <a:gd name="connsiteX96" fmla="*/ 30390 w 117532"/>
                  <a:gd name="connsiteY96" fmla="*/ 73625 h 103789"/>
                  <a:gd name="connsiteX97" fmla="*/ 25506 w 117532"/>
                  <a:gd name="connsiteY97" fmla="*/ 72446 h 103789"/>
                  <a:gd name="connsiteX98" fmla="*/ 23317 w 117532"/>
                  <a:gd name="connsiteY98" fmla="*/ 68741 h 103789"/>
                  <a:gd name="connsiteX99" fmla="*/ 22306 w 117532"/>
                  <a:gd name="connsiteY99" fmla="*/ 62173 h 103789"/>
                  <a:gd name="connsiteX100" fmla="*/ 22643 w 117532"/>
                  <a:gd name="connsiteY100" fmla="*/ 53585 h 103789"/>
                  <a:gd name="connsiteX101" fmla="*/ 25338 w 117532"/>
                  <a:gd name="connsiteY101" fmla="*/ 35228 h 103789"/>
                  <a:gd name="connsiteX102" fmla="*/ 31569 w 117532"/>
                  <a:gd name="connsiteY102" fmla="*/ 16535 h 103789"/>
                  <a:gd name="connsiteX103" fmla="*/ 36789 w 117532"/>
                  <a:gd name="connsiteY103" fmla="*/ 7947 h 103789"/>
                  <a:gd name="connsiteX104" fmla="*/ 41842 w 117532"/>
                  <a:gd name="connsiteY104" fmla="*/ 3736 h 103789"/>
                  <a:gd name="connsiteX105" fmla="*/ 46389 w 117532"/>
                  <a:gd name="connsiteY105" fmla="*/ 3063 h 103789"/>
                  <a:gd name="connsiteX106" fmla="*/ 50262 w 117532"/>
                  <a:gd name="connsiteY106" fmla="*/ 368 h 103789"/>
                  <a:gd name="connsiteX107" fmla="*/ 53894 w 117532"/>
                  <a:gd name="connsiteY107" fmla="*/ 0 h 10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7532" h="103789">
                    <a:moveTo>
                      <a:pt x="33407" y="86265"/>
                    </a:moveTo>
                    <a:cubicBezTo>
                      <a:pt x="35181" y="89188"/>
                      <a:pt x="37867" y="93387"/>
                      <a:pt x="40699" y="97471"/>
                    </a:cubicBezTo>
                    <a:lnTo>
                      <a:pt x="45604" y="103789"/>
                    </a:lnTo>
                    <a:lnTo>
                      <a:pt x="0" y="103789"/>
                    </a:lnTo>
                    <a:lnTo>
                      <a:pt x="4413" y="97606"/>
                    </a:lnTo>
                    <a:lnTo>
                      <a:pt x="12017" y="94044"/>
                    </a:lnTo>
                    <a:lnTo>
                      <a:pt x="19949" y="91518"/>
                    </a:lnTo>
                    <a:lnTo>
                      <a:pt x="30558" y="87350"/>
                    </a:lnTo>
                    <a:close/>
                    <a:moveTo>
                      <a:pt x="82840" y="84764"/>
                    </a:moveTo>
                    <a:lnTo>
                      <a:pt x="83734" y="85076"/>
                    </a:lnTo>
                    <a:lnTo>
                      <a:pt x="92828" y="87981"/>
                    </a:lnTo>
                    <a:lnTo>
                      <a:pt x="110587" y="93943"/>
                    </a:lnTo>
                    <a:cubicBezTo>
                      <a:pt x="110881" y="95080"/>
                      <a:pt x="115639" y="97732"/>
                      <a:pt x="116321" y="100587"/>
                    </a:cubicBezTo>
                    <a:lnTo>
                      <a:pt x="117532" y="103789"/>
                    </a:lnTo>
                    <a:lnTo>
                      <a:pt x="74306" y="103789"/>
                    </a:lnTo>
                    <a:close/>
                    <a:moveTo>
                      <a:pt x="71232" y="72363"/>
                    </a:moveTo>
                    <a:cubicBezTo>
                      <a:pt x="71296" y="74039"/>
                      <a:pt x="70526" y="77895"/>
                      <a:pt x="70850" y="78357"/>
                    </a:cubicBezTo>
                    <a:cubicBezTo>
                      <a:pt x="73034" y="81256"/>
                      <a:pt x="77441" y="81125"/>
                      <a:pt x="80029" y="83014"/>
                    </a:cubicBezTo>
                    <a:cubicBezTo>
                      <a:pt x="78155" y="88701"/>
                      <a:pt x="75901" y="95865"/>
                      <a:pt x="73715" y="99898"/>
                    </a:cubicBezTo>
                    <a:lnTo>
                      <a:pt x="71447" y="103789"/>
                    </a:lnTo>
                    <a:lnTo>
                      <a:pt x="48356" y="103789"/>
                    </a:lnTo>
                    <a:lnTo>
                      <a:pt x="45827" y="101110"/>
                    </a:lnTo>
                    <a:cubicBezTo>
                      <a:pt x="42859" y="97553"/>
                      <a:pt x="39054" y="90891"/>
                      <a:pt x="35905" y="85274"/>
                    </a:cubicBezTo>
                    <a:cubicBezTo>
                      <a:pt x="36914" y="84424"/>
                      <a:pt x="44051" y="81093"/>
                      <a:pt x="45412" y="79039"/>
                    </a:cubicBezTo>
                    <a:cubicBezTo>
                      <a:pt x="45504" y="77096"/>
                      <a:pt x="45588" y="75938"/>
                      <a:pt x="45291" y="72840"/>
                    </a:cubicBezTo>
                    <a:cubicBezTo>
                      <a:pt x="47288" y="74045"/>
                      <a:pt x="48769" y="75651"/>
                      <a:pt x="51283" y="76456"/>
                    </a:cubicBezTo>
                    <a:cubicBezTo>
                      <a:pt x="53798" y="77261"/>
                      <a:pt x="57548" y="78039"/>
                      <a:pt x="60377" y="77669"/>
                    </a:cubicBezTo>
                    <a:cubicBezTo>
                      <a:pt x="63207" y="77298"/>
                      <a:pt x="66450" y="75117"/>
                      <a:pt x="68259" y="74233"/>
                    </a:cubicBezTo>
                    <a:cubicBezTo>
                      <a:pt x="70068" y="73349"/>
                      <a:pt x="70313" y="72578"/>
                      <a:pt x="71232" y="72363"/>
                    </a:cubicBezTo>
                    <a:close/>
                    <a:moveTo>
                      <a:pt x="86982" y="26674"/>
                    </a:moveTo>
                    <a:lnTo>
                      <a:pt x="87523" y="27229"/>
                    </a:lnTo>
                    <a:cubicBezTo>
                      <a:pt x="88239" y="28639"/>
                      <a:pt x="89039" y="32808"/>
                      <a:pt x="89796" y="36323"/>
                    </a:cubicBezTo>
                    <a:cubicBezTo>
                      <a:pt x="90554" y="39838"/>
                      <a:pt x="91565" y="44406"/>
                      <a:pt x="92070" y="48322"/>
                    </a:cubicBezTo>
                    <a:cubicBezTo>
                      <a:pt x="92575" y="52237"/>
                      <a:pt x="92744" y="56700"/>
                      <a:pt x="92828" y="59816"/>
                    </a:cubicBezTo>
                    <a:cubicBezTo>
                      <a:pt x="92912" y="62931"/>
                      <a:pt x="92975" y="64952"/>
                      <a:pt x="92575" y="67015"/>
                    </a:cubicBezTo>
                    <a:cubicBezTo>
                      <a:pt x="92175" y="69078"/>
                      <a:pt x="91438" y="71204"/>
                      <a:pt x="90428" y="72193"/>
                    </a:cubicBezTo>
                    <a:cubicBezTo>
                      <a:pt x="89417" y="73183"/>
                      <a:pt x="88197" y="72909"/>
                      <a:pt x="86512" y="72951"/>
                    </a:cubicBezTo>
                    <a:cubicBezTo>
                      <a:pt x="84828" y="72993"/>
                      <a:pt x="82134" y="72804"/>
                      <a:pt x="80323" y="72446"/>
                    </a:cubicBezTo>
                    <a:cubicBezTo>
                      <a:pt x="78513" y="72088"/>
                      <a:pt x="76324" y="71372"/>
                      <a:pt x="75650" y="70804"/>
                    </a:cubicBezTo>
                    <a:cubicBezTo>
                      <a:pt x="74976" y="70236"/>
                      <a:pt x="75755" y="69899"/>
                      <a:pt x="76282" y="69036"/>
                    </a:cubicBezTo>
                    <a:cubicBezTo>
                      <a:pt x="76808" y="68173"/>
                      <a:pt x="77987" y="67162"/>
                      <a:pt x="78808" y="65626"/>
                    </a:cubicBezTo>
                    <a:cubicBezTo>
                      <a:pt x="79629" y="64089"/>
                      <a:pt x="80723" y="61205"/>
                      <a:pt x="81208" y="59816"/>
                    </a:cubicBezTo>
                    <a:cubicBezTo>
                      <a:pt x="81692" y="58426"/>
                      <a:pt x="81376" y="57984"/>
                      <a:pt x="81713" y="57289"/>
                    </a:cubicBezTo>
                    <a:cubicBezTo>
                      <a:pt x="82050" y="56595"/>
                      <a:pt x="82618" y="56995"/>
                      <a:pt x="83228" y="55648"/>
                    </a:cubicBezTo>
                    <a:cubicBezTo>
                      <a:pt x="83839" y="54300"/>
                      <a:pt x="84765" y="51416"/>
                      <a:pt x="85376" y="49206"/>
                    </a:cubicBezTo>
                    <a:cubicBezTo>
                      <a:pt x="85986" y="46996"/>
                      <a:pt x="86618" y="44028"/>
                      <a:pt x="86891" y="42386"/>
                    </a:cubicBezTo>
                    <a:cubicBezTo>
                      <a:pt x="87165" y="40744"/>
                      <a:pt x="87228" y="40323"/>
                      <a:pt x="87018" y="39354"/>
                    </a:cubicBezTo>
                    <a:cubicBezTo>
                      <a:pt x="86807" y="38386"/>
                      <a:pt x="86091" y="37249"/>
                      <a:pt x="85628" y="36576"/>
                    </a:cubicBezTo>
                    <a:cubicBezTo>
                      <a:pt x="85165" y="35902"/>
                      <a:pt x="84513" y="35944"/>
                      <a:pt x="84239" y="35313"/>
                    </a:cubicBezTo>
                    <a:cubicBezTo>
                      <a:pt x="83965" y="34681"/>
                      <a:pt x="83986" y="33713"/>
                      <a:pt x="83986" y="32786"/>
                    </a:cubicBezTo>
                    <a:cubicBezTo>
                      <a:pt x="83986" y="31860"/>
                      <a:pt x="83986" y="30576"/>
                      <a:pt x="84239" y="29755"/>
                    </a:cubicBezTo>
                    <a:cubicBezTo>
                      <a:pt x="84492" y="28934"/>
                      <a:pt x="84955" y="28282"/>
                      <a:pt x="85502" y="27861"/>
                    </a:cubicBezTo>
                    <a:cubicBezTo>
                      <a:pt x="85912" y="27545"/>
                      <a:pt x="86441" y="26554"/>
                      <a:pt x="86982" y="26674"/>
                    </a:cubicBezTo>
                    <a:close/>
                    <a:moveTo>
                      <a:pt x="50879" y="8152"/>
                    </a:moveTo>
                    <a:cubicBezTo>
                      <a:pt x="57346" y="24319"/>
                      <a:pt x="41583" y="28158"/>
                      <a:pt x="41785" y="36646"/>
                    </a:cubicBezTo>
                    <a:cubicBezTo>
                      <a:pt x="44008" y="26138"/>
                      <a:pt x="56538" y="25329"/>
                      <a:pt x="54113" y="15629"/>
                    </a:cubicBezTo>
                    <a:close/>
                    <a:moveTo>
                      <a:pt x="53894" y="0"/>
                    </a:moveTo>
                    <a:lnTo>
                      <a:pt x="57672" y="32"/>
                    </a:lnTo>
                    <a:cubicBezTo>
                      <a:pt x="59777" y="60"/>
                      <a:pt x="61012" y="4"/>
                      <a:pt x="62893" y="537"/>
                    </a:cubicBezTo>
                    <a:cubicBezTo>
                      <a:pt x="64773" y="1070"/>
                      <a:pt x="66794" y="1856"/>
                      <a:pt x="68956" y="3231"/>
                    </a:cubicBezTo>
                    <a:cubicBezTo>
                      <a:pt x="71117" y="4607"/>
                      <a:pt x="73362" y="6263"/>
                      <a:pt x="75860" y="8789"/>
                    </a:cubicBezTo>
                    <a:cubicBezTo>
                      <a:pt x="78359" y="11315"/>
                      <a:pt x="82092" y="15946"/>
                      <a:pt x="83944" y="18388"/>
                    </a:cubicBezTo>
                    <a:cubicBezTo>
                      <a:pt x="85797" y="20830"/>
                      <a:pt x="86695" y="22065"/>
                      <a:pt x="86976" y="23440"/>
                    </a:cubicBezTo>
                    <a:cubicBezTo>
                      <a:pt x="87256" y="24815"/>
                      <a:pt x="86330" y="25854"/>
                      <a:pt x="85628" y="26640"/>
                    </a:cubicBezTo>
                    <a:cubicBezTo>
                      <a:pt x="84927" y="27426"/>
                      <a:pt x="83579" y="28183"/>
                      <a:pt x="82765" y="28155"/>
                    </a:cubicBezTo>
                    <a:cubicBezTo>
                      <a:pt x="81951" y="28127"/>
                      <a:pt x="81839" y="27538"/>
                      <a:pt x="80744" y="26471"/>
                    </a:cubicBezTo>
                    <a:cubicBezTo>
                      <a:pt x="79650" y="25405"/>
                      <a:pt x="78302" y="23187"/>
                      <a:pt x="76197" y="21756"/>
                    </a:cubicBezTo>
                    <a:cubicBezTo>
                      <a:pt x="74092" y="20324"/>
                      <a:pt x="70920" y="18528"/>
                      <a:pt x="68114" y="17883"/>
                    </a:cubicBezTo>
                    <a:cubicBezTo>
                      <a:pt x="65307" y="17237"/>
                      <a:pt x="58915" y="17462"/>
                      <a:pt x="59356" y="17883"/>
                    </a:cubicBezTo>
                    <a:cubicBezTo>
                      <a:pt x="59797" y="18304"/>
                      <a:pt x="67370" y="18495"/>
                      <a:pt x="70760" y="20409"/>
                    </a:cubicBezTo>
                    <a:cubicBezTo>
                      <a:pt x="74150" y="22323"/>
                      <a:pt x="74512" y="22264"/>
                      <a:pt x="76318" y="23738"/>
                    </a:cubicBezTo>
                    <a:cubicBezTo>
                      <a:pt x="78123" y="25213"/>
                      <a:pt x="80370" y="27914"/>
                      <a:pt x="81593" y="29254"/>
                    </a:cubicBezTo>
                    <a:cubicBezTo>
                      <a:pt x="81104" y="31135"/>
                      <a:pt x="81159" y="30531"/>
                      <a:pt x="80845" y="32155"/>
                    </a:cubicBezTo>
                    <a:cubicBezTo>
                      <a:pt x="81536" y="33819"/>
                      <a:pt x="80845" y="38327"/>
                      <a:pt x="80845" y="38329"/>
                    </a:cubicBezTo>
                    <a:cubicBezTo>
                      <a:pt x="80849" y="38329"/>
                      <a:pt x="83734" y="38539"/>
                      <a:pt x="83734" y="40618"/>
                    </a:cubicBezTo>
                    <a:cubicBezTo>
                      <a:pt x="83734" y="42699"/>
                      <a:pt x="80658" y="54142"/>
                      <a:pt x="80657" y="54146"/>
                    </a:cubicBezTo>
                    <a:cubicBezTo>
                      <a:pt x="80655" y="54149"/>
                      <a:pt x="79839" y="55534"/>
                      <a:pt x="78898" y="55326"/>
                    </a:cubicBezTo>
                    <a:cubicBezTo>
                      <a:pt x="77903" y="63716"/>
                      <a:pt x="72681" y="67959"/>
                      <a:pt x="69744" y="70547"/>
                    </a:cubicBezTo>
                    <a:cubicBezTo>
                      <a:pt x="66994" y="73866"/>
                      <a:pt x="64667" y="74966"/>
                      <a:pt x="62196" y="75850"/>
                    </a:cubicBezTo>
                    <a:cubicBezTo>
                      <a:pt x="59726" y="76734"/>
                      <a:pt x="57846" y="76866"/>
                      <a:pt x="54921" y="75850"/>
                    </a:cubicBezTo>
                    <a:cubicBezTo>
                      <a:pt x="51996" y="74834"/>
                      <a:pt x="47663" y="73292"/>
                      <a:pt x="44647" y="69756"/>
                    </a:cubicBezTo>
                    <a:cubicBezTo>
                      <a:pt x="43831" y="68368"/>
                      <a:pt x="37016" y="62194"/>
                      <a:pt x="36827" y="54632"/>
                    </a:cubicBezTo>
                    <a:cubicBezTo>
                      <a:pt x="34190" y="54424"/>
                      <a:pt x="32683" y="46793"/>
                      <a:pt x="31679" y="42769"/>
                    </a:cubicBezTo>
                    <a:cubicBezTo>
                      <a:pt x="30863" y="39371"/>
                      <a:pt x="33686" y="39439"/>
                      <a:pt x="33688" y="39439"/>
                    </a:cubicBezTo>
                    <a:cubicBezTo>
                      <a:pt x="33686" y="39434"/>
                      <a:pt x="32098" y="36136"/>
                      <a:pt x="32770" y="33888"/>
                    </a:cubicBezTo>
                    <a:cubicBezTo>
                      <a:pt x="31290" y="34690"/>
                      <a:pt x="31152" y="35005"/>
                      <a:pt x="30558" y="35565"/>
                    </a:cubicBezTo>
                    <a:cubicBezTo>
                      <a:pt x="29965" y="36125"/>
                      <a:pt x="29632" y="36435"/>
                      <a:pt x="29211" y="37249"/>
                    </a:cubicBezTo>
                    <a:cubicBezTo>
                      <a:pt x="28790" y="38063"/>
                      <a:pt x="28144" y="39382"/>
                      <a:pt x="28032" y="40449"/>
                    </a:cubicBezTo>
                    <a:cubicBezTo>
                      <a:pt x="27920" y="41515"/>
                      <a:pt x="28313" y="42301"/>
                      <a:pt x="28537" y="43649"/>
                    </a:cubicBezTo>
                    <a:cubicBezTo>
                      <a:pt x="28762" y="44996"/>
                      <a:pt x="28902" y="46399"/>
                      <a:pt x="29379" y="48532"/>
                    </a:cubicBezTo>
                    <a:cubicBezTo>
                      <a:pt x="29857" y="50666"/>
                      <a:pt x="30699" y="54820"/>
                      <a:pt x="31400" y="56447"/>
                    </a:cubicBezTo>
                    <a:cubicBezTo>
                      <a:pt x="32102" y="58075"/>
                      <a:pt x="33000" y="57402"/>
                      <a:pt x="33590" y="58300"/>
                    </a:cubicBezTo>
                    <a:cubicBezTo>
                      <a:pt x="34179" y="59198"/>
                      <a:pt x="34179" y="60209"/>
                      <a:pt x="34937" y="61836"/>
                    </a:cubicBezTo>
                    <a:cubicBezTo>
                      <a:pt x="35695" y="63464"/>
                      <a:pt x="37379" y="66383"/>
                      <a:pt x="38137" y="68067"/>
                    </a:cubicBezTo>
                    <a:cubicBezTo>
                      <a:pt x="38895" y="69752"/>
                      <a:pt x="39877" y="71127"/>
                      <a:pt x="39484" y="71941"/>
                    </a:cubicBezTo>
                    <a:cubicBezTo>
                      <a:pt x="39091" y="72755"/>
                      <a:pt x="37295" y="72671"/>
                      <a:pt x="35779" y="72951"/>
                    </a:cubicBezTo>
                    <a:cubicBezTo>
                      <a:pt x="34263" y="73232"/>
                      <a:pt x="32102" y="73709"/>
                      <a:pt x="30390" y="73625"/>
                    </a:cubicBezTo>
                    <a:cubicBezTo>
                      <a:pt x="28678" y="73541"/>
                      <a:pt x="26685" y="73260"/>
                      <a:pt x="25506" y="72446"/>
                    </a:cubicBezTo>
                    <a:cubicBezTo>
                      <a:pt x="24327" y="71632"/>
                      <a:pt x="23850" y="70453"/>
                      <a:pt x="23317" y="68741"/>
                    </a:cubicBezTo>
                    <a:cubicBezTo>
                      <a:pt x="22783" y="67029"/>
                      <a:pt x="22419" y="64699"/>
                      <a:pt x="22306" y="62173"/>
                    </a:cubicBezTo>
                    <a:cubicBezTo>
                      <a:pt x="22194" y="59647"/>
                      <a:pt x="22138" y="58075"/>
                      <a:pt x="22643" y="53585"/>
                    </a:cubicBezTo>
                    <a:cubicBezTo>
                      <a:pt x="23148" y="49094"/>
                      <a:pt x="23850" y="41403"/>
                      <a:pt x="25338" y="35228"/>
                    </a:cubicBezTo>
                    <a:cubicBezTo>
                      <a:pt x="26825" y="29054"/>
                      <a:pt x="29660" y="21082"/>
                      <a:pt x="31569" y="16535"/>
                    </a:cubicBezTo>
                    <a:cubicBezTo>
                      <a:pt x="33477" y="11988"/>
                      <a:pt x="35077" y="10080"/>
                      <a:pt x="36789" y="7947"/>
                    </a:cubicBezTo>
                    <a:cubicBezTo>
                      <a:pt x="38502" y="5814"/>
                      <a:pt x="40242" y="4551"/>
                      <a:pt x="41842" y="3736"/>
                    </a:cubicBezTo>
                    <a:cubicBezTo>
                      <a:pt x="43442" y="2923"/>
                      <a:pt x="44985" y="3624"/>
                      <a:pt x="46389" y="3063"/>
                    </a:cubicBezTo>
                    <a:cubicBezTo>
                      <a:pt x="47792" y="2502"/>
                      <a:pt x="48354" y="874"/>
                      <a:pt x="50262" y="368"/>
                    </a:cubicBezTo>
                    <a:cubicBezTo>
                      <a:pt x="51217" y="116"/>
                      <a:pt x="52543" y="25"/>
                      <a:pt x="538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3380">
                  <a:defRPr/>
                </a:pPr>
                <a:endParaRPr lang="en-US" sz="2448">
                  <a:solidFill>
                    <a:prstClr val="white"/>
                  </a:solidFill>
                  <a:latin typeface="Segoe UI"/>
                </a:endParaRPr>
              </a:p>
            </p:txBody>
          </p:sp>
        </p:grpSp>
        <p:grpSp>
          <p:nvGrpSpPr>
            <p:cNvPr id="869" name="Group 868"/>
            <p:cNvGrpSpPr/>
            <p:nvPr/>
          </p:nvGrpSpPr>
          <p:grpSpPr>
            <a:xfrm>
              <a:off x="5201550" y="5743984"/>
              <a:ext cx="180975" cy="180975"/>
              <a:chOff x="2678461" y="11636877"/>
              <a:chExt cx="180975" cy="180975"/>
            </a:xfrm>
          </p:grpSpPr>
          <p:sp>
            <p:nvSpPr>
              <p:cNvPr id="877" name="Rectangle 876"/>
              <p:cNvSpPr>
                <a:spLocks noChangeAspect="1"/>
              </p:cNvSpPr>
              <p:nvPr/>
            </p:nvSpPr>
            <p:spPr bwMode="auto">
              <a:xfrm>
                <a:off x="2678461" y="11636877"/>
                <a:ext cx="180975" cy="18097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878" name="Freeform: Shape 759"/>
              <p:cNvSpPr/>
              <p:nvPr/>
            </p:nvSpPr>
            <p:spPr>
              <a:xfrm>
                <a:off x="2681270" y="11663002"/>
                <a:ext cx="175356" cy="154850"/>
              </a:xfrm>
              <a:custGeom>
                <a:avLst/>
                <a:gdLst>
                  <a:gd name="connsiteX0" fmla="*/ 33407 w 117532"/>
                  <a:gd name="connsiteY0" fmla="*/ 86265 h 103789"/>
                  <a:gd name="connsiteX1" fmla="*/ 40699 w 117532"/>
                  <a:gd name="connsiteY1" fmla="*/ 97471 h 103789"/>
                  <a:gd name="connsiteX2" fmla="*/ 45604 w 117532"/>
                  <a:gd name="connsiteY2" fmla="*/ 103789 h 103789"/>
                  <a:gd name="connsiteX3" fmla="*/ 0 w 117532"/>
                  <a:gd name="connsiteY3" fmla="*/ 103789 h 103789"/>
                  <a:gd name="connsiteX4" fmla="*/ 4413 w 117532"/>
                  <a:gd name="connsiteY4" fmla="*/ 97606 h 103789"/>
                  <a:gd name="connsiteX5" fmla="*/ 12017 w 117532"/>
                  <a:gd name="connsiteY5" fmla="*/ 94044 h 103789"/>
                  <a:gd name="connsiteX6" fmla="*/ 19949 w 117532"/>
                  <a:gd name="connsiteY6" fmla="*/ 91518 h 103789"/>
                  <a:gd name="connsiteX7" fmla="*/ 30558 w 117532"/>
                  <a:gd name="connsiteY7" fmla="*/ 87350 h 103789"/>
                  <a:gd name="connsiteX8" fmla="*/ 82840 w 117532"/>
                  <a:gd name="connsiteY8" fmla="*/ 84764 h 103789"/>
                  <a:gd name="connsiteX9" fmla="*/ 83734 w 117532"/>
                  <a:gd name="connsiteY9" fmla="*/ 85076 h 103789"/>
                  <a:gd name="connsiteX10" fmla="*/ 92828 w 117532"/>
                  <a:gd name="connsiteY10" fmla="*/ 87981 h 103789"/>
                  <a:gd name="connsiteX11" fmla="*/ 110587 w 117532"/>
                  <a:gd name="connsiteY11" fmla="*/ 93943 h 103789"/>
                  <a:gd name="connsiteX12" fmla="*/ 116321 w 117532"/>
                  <a:gd name="connsiteY12" fmla="*/ 100587 h 103789"/>
                  <a:gd name="connsiteX13" fmla="*/ 117532 w 117532"/>
                  <a:gd name="connsiteY13" fmla="*/ 103789 h 103789"/>
                  <a:gd name="connsiteX14" fmla="*/ 74306 w 117532"/>
                  <a:gd name="connsiteY14" fmla="*/ 103789 h 103789"/>
                  <a:gd name="connsiteX15" fmla="*/ 71232 w 117532"/>
                  <a:gd name="connsiteY15" fmla="*/ 72363 h 103789"/>
                  <a:gd name="connsiteX16" fmla="*/ 70850 w 117532"/>
                  <a:gd name="connsiteY16" fmla="*/ 78357 h 103789"/>
                  <a:gd name="connsiteX17" fmla="*/ 80029 w 117532"/>
                  <a:gd name="connsiteY17" fmla="*/ 83014 h 103789"/>
                  <a:gd name="connsiteX18" fmla="*/ 73715 w 117532"/>
                  <a:gd name="connsiteY18" fmla="*/ 99898 h 103789"/>
                  <a:gd name="connsiteX19" fmla="*/ 71447 w 117532"/>
                  <a:gd name="connsiteY19" fmla="*/ 103789 h 103789"/>
                  <a:gd name="connsiteX20" fmla="*/ 48356 w 117532"/>
                  <a:gd name="connsiteY20" fmla="*/ 103789 h 103789"/>
                  <a:gd name="connsiteX21" fmla="*/ 45827 w 117532"/>
                  <a:gd name="connsiteY21" fmla="*/ 101110 h 103789"/>
                  <a:gd name="connsiteX22" fmla="*/ 35905 w 117532"/>
                  <a:gd name="connsiteY22" fmla="*/ 85274 h 103789"/>
                  <a:gd name="connsiteX23" fmla="*/ 45412 w 117532"/>
                  <a:gd name="connsiteY23" fmla="*/ 79039 h 103789"/>
                  <a:gd name="connsiteX24" fmla="*/ 45291 w 117532"/>
                  <a:gd name="connsiteY24" fmla="*/ 72840 h 103789"/>
                  <a:gd name="connsiteX25" fmla="*/ 51283 w 117532"/>
                  <a:gd name="connsiteY25" fmla="*/ 76456 h 103789"/>
                  <a:gd name="connsiteX26" fmla="*/ 60377 w 117532"/>
                  <a:gd name="connsiteY26" fmla="*/ 77669 h 103789"/>
                  <a:gd name="connsiteX27" fmla="*/ 68259 w 117532"/>
                  <a:gd name="connsiteY27" fmla="*/ 74233 h 103789"/>
                  <a:gd name="connsiteX28" fmla="*/ 71232 w 117532"/>
                  <a:gd name="connsiteY28" fmla="*/ 72363 h 103789"/>
                  <a:gd name="connsiteX29" fmla="*/ 86982 w 117532"/>
                  <a:gd name="connsiteY29" fmla="*/ 26674 h 103789"/>
                  <a:gd name="connsiteX30" fmla="*/ 87523 w 117532"/>
                  <a:gd name="connsiteY30" fmla="*/ 27229 h 103789"/>
                  <a:gd name="connsiteX31" fmla="*/ 89796 w 117532"/>
                  <a:gd name="connsiteY31" fmla="*/ 36323 h 103789"/>
                  <a:gd name="connsiteX32" fmla="*/ 92070 w 117532"/>
                  <a:gd name="connsiteY32" fmla="*/ 48322 h 103789"/>
                  <a:gd name="connsiteX33" fmla="*/ 92828 w 117532"/>
                  <a:gd name="connsiteY33" fmla="*/ 59816 h 103789"/>
                  <a:gd name="connsiteX34" fmla="*/ 92575 w 117532"/>
                  <a:gd name="connsiteY34" fmla="*/ 67015 h 103789"/>
                  <a:gd name="connsiteX35" fmla="*/ 90428 w 117532"/>
                  <a:gd name="connsiteY35" fmla="*/ 72193 h 103789"/>
                  <a:gd name="connsiteX36" fmla="*/ 86512 w 117532"/>
                  <a:gd name="connsiteY36" fmla="*/ 72951 h 103789"/>
                  <a:gd name="connsiteX37" fmla="*/ 80323 w 117532"/>
                  <a:gd name="connsiteY37" fmla="*/ 72446 h 103789"/>
                  <a:gd name="connsiteX38" fmla="*/ 75650 w 117532"/>
                  <a:gd name="connsiteY38" fmla="*/ 70804 h 103789"/>
                  <a:gd name="connsiteX39" fmla="*/ 76282 w 117532"/>
                  <a:gd name="connsiteY39" fmla="*/ 69036 h 103789"/>
                  <a:gd name="connsiteX40" fmla="*/ 78808 w 117532"/>
                  <a:gd name="connsiteY40" fmla="*/ 65626 h 103789"/>
                  <a:gd name="connsiteX41" fmla="*/ 81208 w 117532"/>
                  <a:gd name="connsiteY41" fmla="*/ 59816 h 103789"/>
                  <a:gd name="connsiteX42" fmla="*/ 81713 w 117532"/>
                  <a:gd name="connsiteY42" fmla="*/ 57289 h 103789"/>
                  <a:gd name="connsiteX43" fmla="*/ 83228 w 117532"/>
                  <a:gd name="connsiteY43" fmla="*/ 55648 h 103789"/>
                  <a:gd name="connsiteX44" fmla="*/ 85376 w 117532"/>
                  <a:gd name="connsiteY44" fmla="*/ 49206 h 103789"/>
                  <a:gd name="connsiteX45" fmla="*/ 86891 w 117532"/>
                  <a:gd name="connsiteY45" fmla="*/ 42386 h 103789"/>
                  <a:gd name="connsiteX46" fmla="*/ 87018 w 117532"/>
                  <a:gd name="connsiteY46" fmla="*/ 39354 h 103789"/>
                  <a:gd name="connsiteX47" fmla="*/ 85628 w 117532"/>
                  <a:gd name="connsiteY47" fmla="*/ 36576 h 103789"/>
                  <a:gd name="connsiteX48" fmla="*/ 84239 w 117532"/>
                  <a:gd name="connsiteY48" fmla="*/ 35313 h 103789"/>
                  <a:gd name="connsiteX49" fmla="*/ 83986 w 117532"/>
                  <a:gd name="connsiteY49" fmla="*/ 32786 h 103789"/>
                  <a:gd name="connsiteX50" fmla="*/ 84239 w 117532"/>
                  <a:gd name="connsiteY50" fmla="*/ 29755 h 103789"/>
                  <a:gd name="connsiteX51" fmla="*/ 85502 w 117532"/>
                  <a:gd name="connsiteY51" fmla="*/ 27861 h 103789"/>
                  <a:gd name="connsiteX52" fmla="*/ 86982 w 117532"/>
                  <a:gd name="connsiteY52" fmla="*/ 26674 h 103789"/>
                  <a:gd name="connsiteX53" fmla="*/ 50879 w 117532"/>
                  <a:gd name="connsiteY53" fmla="*/ 8152 h 103789"/>
                  <a:gd name="connsiteX54" fmla="*/ 41785 w 117532"/>
                  <a:gd name="connsiteY54" fmla="*/ 36646 h 103789"/>
                  <a:gd name="connsiteX55" fmla="*/ 54113 w 117532"/>
                  <a:gd name="connsiteY55" fmla="*/ 15629 h 103789"/>
                  <a:gd name="connsiteX56" fmla="*/ 53894 w 117532"/>
                  <a:gd name="connsiteY56" fmla="*/ 0 h 103789"/>
                  <a:gd name="connsiteX57" fmla="*/ 57672 w 117532"/>
                  <a:gd name="connsiteY57" fmla="*/ 32 h 103789"/>
                  <a:gd name="connsiteX58" fmla="*/ 62893 w 117532"/>
                  <a:gd name="connsiteY58" fmla="*/ 537 h 103789"/>
                  <a:gd name="connsiteX59" fmla="*/ 68956 w 117532"/>
                  <a:gd name="connsiteY59" fmla="*/ 3231 h 103789"/>
                  <a:gd name="connsiteX60" fmla="*/ 75860 w 117532"/>
                  <a:gd name="connsiteY60" fmla="*/ 8789 h 103789"/>
                  <a:gd name="connsiteX61" fmla="*/ 83944 w 117532"/>
                  <a:gd name="connsiteY61" fmla="*/ 18388 h 103789"/>
                  <a:gd name="connsiteX62" fmla="*/ 86976 w 117532"/>
                  <a:gd name="connsiteY62" fmla="*/ 23440 h 103789"/>
                  <a:gd name="connsiteX63" fmla="*/ 85628 w 117532"/>
                  <a:gd name="connsiteY63" fmla="*/ 26640 h 103789"/>
                  <a:gd name="connsiteX64" fmla="*/ 82765 w 117532"/>
                  <a:gd name="connsiteY64" fmla="*/ 28155 h 103789"/>
                  <a:gd name="connsiteX65" fmla="*/ 80744 w 117532"/>
                  <a:gd name="connsiteY65" fmla="*/ 26471 h 103789"/>
                  <a:gd name="connsiteX66" fmla="*/ 76197 w 117532"/>
                  <a:gd name="connsiteY66" fmla="*/ 21756 h 103789"/>
                  <a:gd name="connsiteX67" fmla="*/ 68114 w 117532"/>
                  <a:gd name="connsiteY67" fmla="*/ 17883 h 103789"/>
                  <a:gd name="connsiteX68" fmla="*/ 59356 w 117532"/>
                  <a:gd name="connsiteY68" fmla="*/ 17883 h 103789"/>
                  <a:gd name="connsiteX69" fmla="*/ 70760 w 117532"/>
                  <a:gd name="connsiteY69" fmla="*/ 20409 h 103789"/>
                  <a:gd name="connsiteX70" fmla="*/ 76318 w 117532"/>
                  <a:gd name="connsiteY70" fmla="*/ 23738 h 103789"/>
                  <a:gd name="connsiteX71" fmla="*/ 81593 w 117532"/>
                  <a:gd name="connsiteY71" fmla="*/ 29254 h 103789"/>
                  <a:gd name="connsiteX72" fmla="*/ 80845 w 117532"/>
                  <a:gd name="connsiteY72" fmla="*/ 32155 h 103789"/>
                  <a:gd name="connsiteX73" fmla="*/ 80845 w 117532"/>
                  <a:gd name="connsiteY73" fmla="*/ 38329 h 103789"/>
                  <a:gd name="connsiteX74" fmla="*/ 83734 w 117532"/>
                  <a:gd name="connsiteY74" fmla="*/ 40618 h 103789"/>
                  <a:gd name="connsiteX75" fmla="*/ 80657 w 117532"/>
                  <a:gd name="connsiteY75" fmla="*/ 54146 h 103789"/>
                  <a:gd name="connsiteX76" fmla="*/ 78898 w 117532"/>
                  <a:gd name="connsiteY76" fmla="*/ 55326 h 103789"/>
                  <a:gd name="connsiteX77" fmla="*/ 69744 w 117532"/>
                  <a:gd name="connsiteY77" fmla="*/ 70547 h 103789"/>
                  <a:gd name="connsiteX78" fmla="*/ 62196 w 117532"/>
                  <a:gd name="connsiteY78" fmla="*/ 75850 h 103789"/>
                  <a:gd name="connsiteX79" fmla="*/ 54921 w 117532"/>
                  <a:gd name="connsiteY79" fmla="*/ 75850 h 103789"/>
                  <a:gd name="connsiteX80" fmla="*/ 44647 w 117532"/>
                  <a:gd name="connsiteY80" fmla="*/ 69756 h 103789"/>
                  <a:gd name="connsiteX81" fmla="*/ 36827 w 117532"/>
                  <a:gd name="connsiteY81" fmla="*/ 54632 h 103789"/>
                  <a:gd name="connsiteX82" fmla="*/ 31679 w 117532"/>
                  <a:gd name="connsiteY82" fmla="*/ 42769 h 103789"/>
                  <a:gd name="connsiteX83" fmla="*/ 33688 w 117532"/>
                  <a:gd name="connsiteY83" fmla="*/ 39439 h 103789"/>
                  <a:gd name="connsiteX84" fmla="*/ 32770 w 117532"/>
                  <a:gd name="connsiteY84" fmla="*/ 33888 h 103789"/>
                  <a:gd name="connsiteX85" fmla="*/ 30558 w 117532"/>
                  <a:gd name="connsiteY85" fmla="*/ 35565 h 103789"/>
                  <a:gd name="connsiteX86" fmla="*/ 29211 w 117532"/>
                  <a:gd name="connsiteY86" fmla="*/ 37249 h 103789"/>
                  <a:gd name="connsiteX87" fmla="*/ 28032 w 117532"/>
                  <a:gd name="connsiteY87" fmla="*/ 40449 h 103789"/>
                  <a:gd name="connsiteX88" fmla="*/ 28537 w 117532"/>
                  <a:gd name="connsiteY88" fmla="*/ 43649 h 103789"/>
                  <a:gd name="connsiteX89" fmla="*/ 29379 w 117532"/>
                  <a:gd name="connsiteY89" fmla="*/ 48532 h 103789"/>
                  <a:gd name="connsiteX90" fmla="*/ 31400 w 117532"/>
                  <a:gd name="connsiteY90" fmla="*/ 56447 h 103789"/>
                  <a:gd name="connsiteX91" fmla="*/ 33590 w 117532"/>
                  <a:gd name="connsiteY91" fmla="*/ 58300 h 103789"/>
                  <a:gd name="connsiteX92" fmla="*/ 34937 w 117532"/>
                  <a:gd name="connsiteY92" fmla="*/ 61836 h 103789"/>
                  <a:gd name="connsiteX93" fmla="*/ 38137 w 117532"/>
                  <a:gd name="connsiteY93" fmla="*/ 68067 h 103789"/>
                  <a:gd name="connsiteX94" fmla="*/ 39484 w 117532"/>
                  <a:gd name="connsiteY94" fmla="*/ 71941 h 103789"/>
                  <a:gd name="connsiteX95" fmla="*/ 35779 w 117532"/>
                  <a:gd name="connsiteY95" fmla="*/ 72951 h 103789"/>
                  <a:gd name="connsiteX96" fmla="*/ 30390 w 117532"/>
                  <a:gd name="connsiteY96" fmla="*/ 73625 h 103789"/>
                  <a:gd name="connsiteX97" fmla="*/ 25506 w 117532"/>
                  <a:gd name="connsiteY97" fmla="*/ 72446 h 103789"/>
                  <a:gd name="connsiteX98" fmla="*/ 23317 w 117532"/>
                  <a:gd name="connsiteY98" fmla="*/ 68741 h 103789"/>
                  <a:gd name="connsiteX99" fmla="*/ 22306 w 117532"/>
                  <a:gd name="connsiteY99" fmla="*/ 62173 h 103789"/>
                  <a:gd name="connsiteX100" fmla="*/ 22643 w 117532"/>
                  <a:gd name="connsiteY100" fmla="*/ 53585 h 103789"/>
                  <a:gd name="connsiteX101" fmla="*/ 25338 w 117532"/>
                  <a:gd name="connsiteY101" fmla="*/ 35228 h 103789"/>
                  <a:gd name="connsiteX102" fmla="*/ 31569 w 117532"/>
                  <a:gd name="connsiteY102" fmla="*/ 16535 h 103789"/>
                  <a:gd name="connsiteX103" fmla="*/ 36789 w 117532"/>
                  <a:gd name="connsiteY103" fmla="*/ 7947 h 103789"/>
                  <a:gd name="connsiteX104" fmla="*/ 41842 w 117532"/>
                  <a:gd name="connsiteY104" fmla="*/ 3736 h 103789"/>
                  <a:gd name="connsiteX105" fmla="*/ 46389 w 117532"/>
                  <a:gd name="connsiteY105" fmla="*/ 3063 h 103789"/>
                  <a:gd name="connsiteX106" fmla="*/ 50262 w 117532"/>
                  <a:gd name="connsiteY106" fmla="*/ 368 h 103789"/>
                  <a:gd name="connsiteX107" fmla="*/ 53894 w 117532"/>
                  <a:gd name="connsiteY107" fmla="*/ 0 h 10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7532" h="103789">
                    <a:moveTo>
                      <a:pt x="33407" y="86265"/>
                    </a:moveTo>
                    <a:cubicBezTo>
                      <a:pt x="35181" y="89188"/>
                      <a:pt x="37867" y="93387"/>
                      <a:pt x="40699" y="97471"/>
                    </a:cubicBezTo>
                    <a:lnTo>
                      <a:pt x="45604" y="103789"/>
                    </a:lnTo>
                    <a:lnTo>
                      <a:pt x="0" y="103789"/>
                    </a:lnTo>
                    <a:lnTo>
                      <a:pt x="4413" y="97606"/>
                    </a:lnTo>
                    <a:lnTo>
                      <a:pt x="12017" y="94044"/>
                    </a:lnTo>
                    <a:lnTo>
                      <a:pt x="19949" y="91518"/>
                    </a:lnTo>
                    <a:lnTo>
                      <a:pt x="30558" y="87350"/>
                    </a:lnTo>
                    <a:close/>
                    <a:moveTo>
                      <a:pt x="82840" y="84764"/>
                    </a:moveTo>
                    <a:lnTo>
                      <a:pt x="83734" y="85076"/>
                    </a:lnTo>
                    <a:lnTo>
                      <a:pt x="92828" y="87981"/>
                    </a:lnTo>
                    <a:lnTo>
                      <a:pt x="110587" y="93943"/>
                    </a:lnTo>
                    <a:cubicBezTo>
                      <a:pt x="110881" y="95080"/>
                      <a:pt x="115639" y="97732"/>
                      <a:pt x="116321" y="100587"/>
                    </a:cubicBezTo>
                    <a:lnTo>
                      <a:pt x="117532" y="103789"/>
                    </a:lnTo>
                    <a:lnTo>
                      <a:pt x="74306" y="103789"/>
                    </a:lnTo>
                    <a:close/>
                    <a:moveTo>
                      <a:pt x="71232" y="72363"/>
                    </a:moveTo>
                    <a:cubicBezTo>
                      <a:pt x="71296" y="74039"/>
                      <a:pt x="70526" y="77895"/>
                      <a:pt x="70850" y="78357"/>
                    </a:cubicBezTo>
                    <a:cubicBezTo>
                      <a:pt x="73034" y="81256"/>
                      <a:pt x="77441" y="81125"/>
                      <a:pt x="80029" y="83014"/>
                    </a:cubicBezTo>
                    <a:cubicBezTo>
                      <a:pt x="78155" y="88701"/>
                      <a:pt x="75901" y="95865"/>
                      <a:pt x="73715" y="99898"/>
                    </a:cubicBezTo>
                    <a:lnTo>
                      <a:pt x="71447" y="103789"/>
                    </a:lnTo>
                    <a:lnTo>
                      <a:pt x="48356" y="103789"/>
                    </a:lnTo>
                    <a:lnTo>
                      <a:pt x="45827" y="101110"/>
                    </a:lnTo>
                    <a:cubicBezTo>
                      <a:pt x="42859" y="97553"/>
                      <a:pt x="39054" y="90891"/>
                      <a:pt x="35905" y="85274"/>
                    </a:cubicBezTo>
                    <a:cubicBezTo>
                      <a:pt x="36914" y="84424"/>
                      <a:pt x="44051" y="81093"/>
                      <a:pt x="45412" y="79039"/>
                    </a:cubicBezTo>
                    <a:cubicBezTo>
                      <a:pt x="45504" y="77096"/>
                      <a:pt x="45588" y="75938"/>
                      <a:pt x="45291" y="72840"/>
                    </a:cubicBezTo>
                    <a:cubicBezTo>
                      <a:pt x="47288" y="74045"/>
                      <a:pt x="48769" y="75651"/>
                      <a:pt x="51283" y="76456"/>
                    </a:cubicBezTo>
                    <a:cubicBezTo>
                      <a:pt x="53798" y="77261"/>
                      <a:pt x="57548" y="78039"/>
                      <a:pt x="60377" y="77669"/>
                    </a:cubicBezTo>
                    <a:cubicBezTo>
                      <a:pt x="63207" y="77298"/>
                      <a:pt x="66450" y="75117"/>
                      <a:pt x="68259" y="74233"/>
                    </a:cubicBezTo>
                    <a:cubicBezTo>
                      <a:pt x="70068" y="73349"/>
                      <a:pt x="70313" y="72578"/>
                      <a:pt x="71232" y="72363"/>
                    </a:cubicBezTo>
                    <a:close/>
                    <a:moveTo>
                      <a:pt x="86982" y="26674"/>
                    </a:moveTo>
                    <a:lnTo>
                      <a:pt x="87523" y="27229"/>
                    </a:lnTo>
                    <a:cubicBezTo>
                      <a:pt x="88239" y="28639"/>
                      <a:pt x="89039" y="32808"/>
                      <a:pt x="89796" y="36323"/>
                    </a:cubicBezTo>
                    <a:cubicBezTo>
                      <a:pt x="90554" y="39838"/>
                      <a:pt x="91565" y="44406"/>
                      <a:pt x="92070" y="48322"/>
                    </a:cubicBezTo>
                    <a:cubicBezTo>
                      <a:pt x="92575" y="52237"/>
                      <a:pt x="92744" y="56700"/>
                      <a:pt x="92828" y="59816"/>
                    </a:cubicBezTo>
                    <a:cubicBezTo>
                      <a:pt x="92912" y="62931"/>
                      <a:pt x="92975" y="64952"/>
                      <a:pt x="92575" y="67015"/>
                    </a:cubicBezTo>
                    <a:cubicBezTo>
                      <a:pt x="92175" y="69078"/>
                      <a:pt x="91438" y="71204"/>
                      <a:pt x="90428" y="72193"/>
                    </a:cubicBezTo>
                    <a:cubicBezTo>
                      <a:pt x="89417" y="73183"/>
                      <a:pt x="88197" y="72909"/>
                      <a:pt x="86512" y="72951"/>
                    </a:cubicBezTo>
                    <a:cubicBezTo>
                      <a:pt x="84828" y="72993"/>
                      <a:pt x="82134" y="72804"/>
                      <a:pt x="80323" y="72446"/>
                    </a:cubicBezTo>
                    <a:cubicBezTo>
                      <a:pt x="78513" y="72088"/>
                      <a:pt x="76324" y="71372"/>
                      <a:pt x="75650" y="70804"/>
                    </a:cubicBezTo>
                    <a:cubicBezTo>
                      <a:pt x="74976" y="70236"/>
                      <a:pt x="75755" y="69899"/>
                      <a:pt x="76282" y="69036"/>
                    </a:cubicBezTo>
                    <a:cubicBezTo>
                      <a:pt x="76808" y="68173"/>
                      <a:pt x="77987" y="67162"/>
                      <a:pt x="78808" y="65626"/>
                    </a:cubicBezTo>
                    <a:cubicBezTo>
                      <a:pt x="79629" y="64089"/>
                      <a:pt x="80723" y="61205"/>
                      <a:pt x="81208" y="59816"/>
                    </a:cubicBezTo>
                    <a:cubicBezTo>
                      <a:pt x="81692" y="58426"/>
                      <a:pt x="81376" y="57984"/>
                      <a:pt x="81713" y="57289"/>
                    </a:cubicBezTo>
                    <a:cubicBezTo>
                      <a:pt x="82050" y="56595"/>
                      <a:pt x="82618" y="56995"/>
                      <a:pt x="83228" y="55648"/>
                    </a:cubicBezTo>
                    <a:cubicBezTo>
                      <a:pt x="83839" y="54300"/>
                      <a:pt x="84765" y="51416"/>
                      <a:pt x="85376" y="49206"/>
                    </a:cubicBezTo>
                    <a:cubicBezTo>
                      <a:pt x="85986" y="46996"/>
                      <a:pt x="86618" y="44028"/>
                      <a:pt x="86891" y="42386"/>
                    </a:cubicBezTo>
                    <a:cubicBezTo>
                      <a:pt x="87165" y="40744"/>
                      <a:pt x="87228" y="40323"/>
                      <a:pt x="87018" y="39354"/>
                    </a:cubicBezTo>
                    <a:cubicBezTo>
                      <a:pt x="86807" y="38386"/>
                      <a:pt x="86091" y="37249"/>
                      <a:pt x="85628" y="36576"/>
                    </a:cubicBezTo>
                    <a:cubicBezTo>
                      <a:pt x="85165" y="35902"/>
                      <a:pt x="84513" y="35944"/>
                      <a:pt x="84239" y="35313"/>
                    </a:cubicBezTo>
                    <a:cubicBezTo>
                      <a:pt x="83965" y="34681"/>
                      <a:pt x="83986" y="33713"/>
                      <a:pt x="83986" y="32786"/>
                    </a:cubicBezTo>
                    <a:cubicBezTo>
                      <a:pt x="83986" y="31860"/>
                      <a:pt x="83986" y="30576"/>
                      <a:pt x="84239" y="29755"/>
                    </a:cubicBezTo>
                    <a:cubicBezTo>
                      <a:pt x="84492" y="28934"/>
                      <a:pt x="84955" y="28282"/>
                      <a:pt x="85502" y="27861"/>
                    </a:cubicBezTo>
                    <a:cubicBezTo>
                      <a:pt x="85912" y="27545"/>
                      <a:pt x="86441" y="26554"/>
                      <a:pt x="86982" y="26674"/>
                    </a:cubicBezTo>
                    <a:close/>
                    <a:moveTo>
                      <a:pt x="50879" y="8152"/>
                    </a:moveTo>
                    <a:cubicBezTo>
                      <a:pt x="57346" y="24319"/>
                      <a:pt x="41583" y="28158"/>
                      <a:pt x="41785" y="36646"/>
                    </a:cubicBezTo>
                    <a:cubicBezTo>
                      <a:pt x="44008" y="26138"/>
                      <a:pt x="56538" y="25329"/>
                      <a:pt x="54113" y="15629"/>
                    </a:cubicBezTo>
                    <a:close/>
                    <a:moveTo>
                      <a:pt x="53894" y="0"/>
                    </a:moveTo>
                    <a:lnTo>
                      <a:pt x="57672" y="32"/>
                    </a:lnTo>
                    <a:cubicBezTo>
                      <a:pt x="59777" y="60"/>
                      <a:pt x="61012" y="4"/>
                      <a:pt x="62893" y="537"/>
                    </a:cubicBezTo>
                    <a:cubicBezTo>
                      <a:pt x="64773" y="1070"/>
                      <a:pt x="66794" y="1856"/>
                      <a:pt x="68956" y="3231"/>
                    </a:cubicBezTo>
                    <a:cubicBezTo>
                      <a:pt x="71117" y="4607"/>
                      <a:pt x="73362" y="6263"/>
                      <a:pt x="75860" y="8789"/>
                    </a:cubicBezTo>
                    <a:cubicBezTo>
                      <a:pt x="78359" y="11315"/>
                      <a:pt x="82092" y="15946"/>
                      <a:pt x="83944" y="18388"/>
                    </a:cubicBezTo>
                    <a:cubicBezTo>
                      <a:pt x="85797" y="20830"/>
                      <a:pt x="86695" y="22065"/>
                      <a:pt x="86976" y="23440"/>
                    </a:cubicBezTo>
                    <a:cubicBezTo>
                      <a:pt x="87256" y="24815"/>
                      <a:pt x="86330" y="25854"/>
                      <a:pt x="85628" y="26640"/>
                    </a:cubicBezTo>
                    <a:cubicBezTo>
                      <a:pt x="84927" y="27426"/>
                      <a:pt x="83579" y="28183"/>
                      <a:pt x="82765" y="28155"/>
                    </a:cubicBezTo>
                    <a:cubicBezTo>
                      <a:pt x="81951" y="28127"/>
                      <a:pt x="81839" y="27538"/>
                      <a:pt x="80744" y="26471"/>
                    </a:cubicBezTo>
                    <a:cubicBezTo>
                      <a:pt x="79650" y="25405"/>
                      <a:pt x="78302" y="23187"/>
                      <a:pt x="76197" y="21756"/>
                    </a:cubicBezTo>
                    <a:cubicBezTo>
                      <a:pt x="74092" y="20324"/>
                      <a:pt x="70920" y="18528"/>
                      <a:pt x="68114" y="17883"/>
                    </a:cubicBezTo>
                    <a:cubicBezTo>
                      <a:pt x="65307" y="17237"/>
                      <a:pt x="58915" y="17462"/>
                      <a:pt x="59356" y="17883"/>
                    </a:cubicBezTo>
                    <a:cubicBezTo>
                      <a:pt x="59797" y="18304"/>
                      <a:pt x="67370" y="18495"/>
                      <a:pt x="70760" y="20409"/>
                    </a:cubicBezTo>
                    <a:cubicBezTo>
                      <a:pt x="74150" y="22323"/>
                      <a:pt x="74512" y="22264"/>
                      <a:pt x="76318" y="23738"/>
                    </a:cubicBezTo>
                    <a:cubicBezTo>
                      <a:pt x="78123" y="25213"/>
                      <a:pt x="80370" y="27914"/>
                      <a:pt x="81593" y="29254"/>
                    </a:cubicBezTo>
                    <a:cubicBezTo>
                      <a:pt x="81104" y="31135"/>
                      <a:pt x="81159" y="30531"/>
                      <a:pt x="80845" y="32155"/>
                    </a:cubicBezTo>
                    <a:cubicBezTo>
                      <a:pt x="81536" y="33819"/>
                      <a:pt x="80845" y="38327"/>
                      <a:pt x="80845" y="38329"/>
                    </a:cubicBezTo>
                    <a:cubicBezTo>
                      <a:pt x="80849" y="38329"/>
                      <a:pt x="83734" y="38539"/>
                      <a:pt x="83734" y="40618"/>
                    </a:cubicBezTo>
                    <a:cubicBezTo>
                      <a:pt x="83734" y="42699"/>
                      <a:pt x="80658" y="54142"/>
                      <a:pt x="80657" y="54146"/>
                    </a:cubicBezTo>
                    <a:cubicBezTo>
                      <a:pt x="80655" y="54149"/>
                      <a:pt x="79839" y="55534"/>
                      <a:pt x="78898" y="55326"/>
                    </a:cubicBezTo>
                    <a:cubicBezTo>
                      <a:pt x="77903" y="63716"/>
                      <a:pt x="72681" y="67959"/>
                      <a:pt x="69744" y="70547"/>
                    </a:cubicBezTo>
                    <a:cubicBezTo>
                      <a:pt x="66994" y="73866"/>
                      <a:pt x="64667" y="74966"/>
                      <a:pt x="62196" y="75850"/>
                    </a:cubicBezTo>
                    <a:cubicBezTo>
                      <a:pt x="59726" y="76734"/>
                      <a:pt x="57846" y="76866"/>
                      <a:pt x="54921" y="75850"/>
                    </a:cubicBezTo>
                    <a:cubicBezTo>
                      <a:pt x="51996" y="74834"/>
                      <a:pt x="47663" y="73292"/>
                      <a:pt x="44647" y="69756"/>
                    </a:cubicBezTo>
                    <a:cubicBezTo>
                      <a:pt x="43831" y="68368"/>
                      <a:pt x="37016" y="62194"/>
                      <a:pt x="36827" y="54632"/>
                    </a:cubicBezTo>
                    <a:cubicBezTo>
                      <a:pt x="34190" y="54424"/>
                      <a:pt x="32683" y="46793"/>
                      <a:pt x="31679" y="42769"/>
                    </a:cubicBezTo>
                    <a:cubicBezTo>
                      <a:pt x="30863" y="39371"/>
                      <a:pt x="33686" y="39439"/>
                      <a:pt x="33688" y="39439"/>
                    </a:cubicBezTo>
                    <a:cubicBezTo>
                      <a:pt x="33686" y="39434"/>
                      <a:pt x="32098" y="36136"/>
                      <a:pt x="32770" y="33888"/>
                    </a:cubicBezTo>
                    <a:cubicBezTo>
                      <a:pt x="31290" y="34690"/>
                      <a:pt x="31152" y="35005"/>
                      <a:pt x="30558" y="35565"/>
                    </a:cubicBezTo>
                    <a:cubicBezTo>
                      <a:pt x="29965" y="36125"/>
                      <a:pt x="29632" y="36435"/>
                      <a:pt x="29211" y="37249"/>
                    </a:cubicBezTo>
                    <a:cubicBezTo>
                      <a:pt x="28790" y="38063"/>
                      <a:pt x="28144" y="39382"/>
                      <a:pt x="28032" y="40449"/>
                    </a:cubicBezTo>
                    <a:cubicBezTo>
                      <a:pt x="27920" y="41515"/>
                      <a:pt x="28313" y="42301"/>
                      <a:pt x="28537" y="43649"/>
                    </a:cubicBezTo>
                    <a:cubicBezTo>
                      <a:pt x="28762" y="44996"/>
                      <a:pt x="28902" y="46399"/>
                      <a:pt x="29379" y="48532"/>
                    </a:cubicBezTo>
                    <a:cubicBezTo>
                      <a:pt x="29857" y="50666"/>
                      <a:pt x="30699" y="54820"/>
                      <a:pt x="31400" y="56447"/>
                    </a:cubicBezTo>
                    <a:cubicBezTo>
                      <a:pt x="32102" y="58075"/>
                      <a:pt x="33000" y="57402"/>
                      <a:pt x="33590" y="58300"/>
                    </a:cubicBezTo>
                    <a:cubicBezTo>
                      <a:pt x="34179" y="59198"/>
                      <a:pt x="34179" y="60209"/>
                      <a:pt x="34937" y="61836"/>
                    </a:cubicBezTo>
                    <a:cubicBezTo>
                      <a:pt x="35695" y="63464"/>
                      <a:pt x="37379" y="66383"/>
                      <a:pt x="38137" y="68067"/>
                    </a:cubicBezTo>
                    <a:cubicBezTo>
                      <a:pt x="38895" y="69752"/>
                      <a:pt x="39877" y="71127"/>
                      <a:pt x="39484" y="71941"/>
                    </a:cubicBezTo>
                    <a:cubicBezTo>
                      <a:pt x="39091" y="72755"/>
                      <a:pt x="37295" y="72671"/>
                      <a:pt x="35779" y="72951"/>
                    </a:cubicBezTo>
                    <a:cubicBezTo>
                      <a:pt x="34263" y="73232"/>
                      <a:pt x="32102" y="73709"/>
                      <a:pt x="30390" y="73625"/>
                    </a:cubicBezTo>
                    <a:cubicBezTo>
                      <a:pt x="28678" y="73541"/>
                      <a:pt x="26685" y="73260"/>
                      <a:pt x="25506" y="72446"/>
                    </a:cubicBezTo>
                    <a:cubicBezTo>
                      <a:pt x="24327" y="71632"/>
                      <a:pt x="23850" y="70453"/>
                      <a:pt x="23317" y="68741"/>
                    </a:cubicBezTo>
                    <a:cubicBezTo>
                      <a:pt x="22783" y="67029"/>
                      <a:pt x="22419" y="64699"/>
                      <a:pt x="22306" y="62173"/>
                    </a:cubicBezTo>
                    <a:cubicBezTo>
                      <a:pt x="22194" y="59647"/>
                      <a:pt x="22138" y="58075"/>
                      <a:pt x="22643" y="53585"/>
                    </a:cubicBezTo>
                    <a:cubicBezTo>
                      <a:pt x="23148" y="49094"/>
                      <a:pt x="23850" y="41403"/>
                      <a:pt x="25338" y="35228"/>
                    </a:cubicBezTo>
                    <a:cubicBezTo>
                      <a:pt x="26825" y="29054"/>
                      <a:pt x="29660" y="21082"/>
                      <a:pt x="31569" y="16535"/>
                    </a:cubicBezTo>
                    <a:cubicBezTo>
                      <a:pt x="33477" y="11988"/>
                      <a:pt x="35077" y="10080"/>
                      <a:pt x="36789" y="7947"/>
                    </a:cubicBezTo>
                    <a:cubicBezTo>
                      <a:pt x="38502" y="5814"/>
                      <a:pt x="40242" y="4551"/>
                      <a:pt x="41842" y="3736"/>
                    </a:cubicBezTo>
                    <a:cubicBezTo>
                      <a:pt x="43442" y="2923"/>
                      <a:pt x="44985" y="3624"/>
                      <a:pt x="46389" y="3063"/>
                    </a:cubicBezTo>
                    <a:cubicBezTo>
                      <a:pt x="47792" y="2502"/>
                      <a:pt x="48354" y="874"/>
                      <a:pt x="50262" y="368"/>
                    </a:cubicBezTo>
                    <a:cubicBezTo>
                      <a:pt x="51217" y="116"/>
                      <a:pt x="52543" y="25"/>
                      <a:pt x="538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3380">
                  <a:defRPr/>
                </a:pPr>
                <a:endParaRPr lang="en-US" sz="2448">
                  <a:solidFill>
                    <a:prstClr val="white"/>
                  </a:solidFill>
                  <a:latin typeface="Segoe UI"/>
                </a:endParaRPr>
              </a:p>
            </p:txBody>
          </p:sp>
        </p:grpSp>
        <p:grpSp>
          <p:nvGrpSpPr>
            <p:cNvPr id="870" name="Group 869"/>
            <p:cNvGrpSpPr/>
            <p:nvPr/>
          </p:nvGrpSpPr>
          <p:grpSpPr>
            <a:xfrm>
              <a:off x="5201550" y="4933207"/>
              <a:ext cx="180975" cy="180975"/>
              <a:chOff x="2678461" y="11636877"/>
              <a:chExt cx="180975" cy="180975"/>
            </a:xfrm>
          </p:grpSpPr>
          <p:sp>
            <p:nvSpPr>
              <p:cNvPr id="875" name="Rectangle 874"/>
              <p:cNvSpPr>
                <a:spLocks noChangeAspect="1"/>
              </p:cNvSpPr>
              <p:nvPr/>
            </p:nvSpPr>
            <p:spPr bwMode="auto">
              <a:xfrm>
                <a:off x="2678461" y="11636877"/>
                <a:ext cx="180975" cy="18097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876" name="Freeform: Shape 757"/>
              <p:cNvSpPr/>
              <p:nvPr/>
            </p:nvSpPr>
            <p:spPr>
              <a:xfrm>
                <a:off x="2681270" y="11663002"/>
                <a:ext cx="175356" cy="154850"/>
              </a:xfrm>
              <a:custGeom>
                <a:avLst/>
                <a:gdLst>
                  <a:gd name="connsiteX0" fmla="*/ 33407 w 117532"/>
                  <a:gd name="connsiteY0" fmla="*/ 86265 h 103789"/>
                  <a:gd name="connsiteX1" fmla="*/ 40699 w 117532"/>
                  <a:gd name="connsiteY1" fmla="*/ 97471 h 103789"/>
                  <a:gd name="connsiteX2" fmla="*/ 45604 w 117532"/>
                  <a:gd name="connsiteY2" fmla="*/ 103789 h 103789"/>
                  <a:gd name="connsiteX3" fmla="*/ 0 w 117532"/>
                  <a:gd name="connsiteY3" fmla="*/ 103789 h 103789"/>
                  <a:gd name="connsiteX4" fmla="*/ 4413 w 117532"/>
                  <a:gd name="connsiteY4" fmla="*/ 97606 h 103789"/>
                  <a:gd name="connsiteX5" fmla="*/ 12017 w 117532"/>
                  <a:gd name="connsiteY5" fmla="*/ 94044 h 103789"/>
                  <a:gd name="connsiteX6" fmla="*/ 19949 w 117532"/>
                  <a:gd name="connsiteY6" fmla="*/ 91518 h 103789"/>
                  <a:gd name="connsiteX7" fmla="*/ 30558 w 117532"/>
                  <a:gd name="connsiteY7" fmla="*/ 87350 h 103789"/>
                  <a:gd name="connsiteX8" fmla="*/ 82840 w 117532"/>
                  <a:gd name="connsiteY8" fmla="*/ 84764 h 103789"/>
                  <a:gd name="connsiteX9" fmla="*/ 83734 w 117532"/>
                  <a:gd name="connsiteY9" fmla="*/ 85076 h 103789"/>
                  <a:gd name="connsiteX10" fmla="*/ 92828 w 117532"/>
                  <a:gd name="connsiteY10" fmla="*/ 87981 h 103789"/>
                  <a:gd name="connsiteX11" fmla="*/ 110587 w 117532"/>
                  <a:gd name="connsiteY11" fmla="*/ 93943 h 103789"/>
                  <a:gd name="connsiteX12" fmla="*/ 116321 w 117532"/>
                  <a:gd name="connsiteY12" fmla="*/ 100587 h 103789"/>
                  <a:gd name="connsiteX13" fmla="*/ 117532 w 117532"/>
                  <a:gd name="connsiteY13" fmla="*/ 103789 h 103789"/>
                  <a:gd name="connsiteX14" fmla="*/ 74306 w 117532"/>
                  <a:gd name="connsiteY14" fmla="*/ 103789 h 103789"/>
                  <a:gd name="connsiteX15" fmla="*/ 71232 w 117532"/>
                  <a:gd name="connsiteY15" fmla="*/ 72363 h 103789"/>
                  <a:gd name="connsiteX16" fmla="*/ 70850 w 117532"/>
                  <a:gd name="connsiteY16" fmla="*/ 78357 h 103789"/>
                  <a:gd name="connsiteX17" fmla="*/ 80029 w 117532"/>
                  <a:gd name="connsiteY17" fmla="*/ 83014 h 103789"/>
                  <a:gd name="connsiteX18" fmla="*/ 73715 w 117532"/>
                  <a:gd name="connsiteY18" fmla="*/ 99898 h 103789"/>
                  <a:gd name="connsiteX19" fmla="*/ 71447 w 117532"/>
                  <a:gd name="connsiteY19" fmla="*/ 103789 h 103789"/>
                  <a:gd name="connsiteX20" fmla="*/ 48356 w 117532"/>
                  <a:gd name="connsiteY20" fmla="*/ 103789 h 103789"/>
                  <a:gd name="connsiteX21" fmla="*/ 45827 w 117532"/>
                  <a:gd name="connsiteY21" fmla="*/ 101110 h 103789"/>
                  <a:gd name="connsiteX22" fmla="*/ 35905 w 117532"/>
                  <a:gd name="connsiteY22" fmla="*/ 85274 h 103789"/>
                  <a:gd name="connsiteX23" fmla="*/ 45412 w 117532"/>
                  <a:gd name="connsiteY23" fmla="*/ 79039 h 103789"/>
                  <a:gd name="connsiteX24" fmla="*/ 45291 w 117532"/>
                  <a:gd name="connsiteY24" fmla="*/ 72840 h 103789"/>
                  <a:gd name="connsiteX25" fmla="*/ 51283 w 117532"/>
                  <a:gd name="connsiteY25" fmla="*/ 76456 h 103789"/>
                  <a:gd name="connsiteX26" fmla="*/ 60377 w 117532"/>
                  <a:gd name="connsiteY26" fmla="*/ 77669 h 103789"/>
                  <a:gd name="connsiteX27" fmla="*/ 68259 w 117532"/>
                  <a:gd name="connsiteY27" fmla="*/ 74233 h 103789"/>
                  <a:gd name="connsiteX28" fmla="*/ 71232 w 117532"/>
                  <a:gd name="connsiteY28" fmla="*/ 72363 h 103789"/>
                  <a:gd name="connsiteX29" fmla="*/ 86982 w 117532"/>
                  <a:gd name="connsiteY29" fmla="*/ 26674 h 103789"/>
                  <a:gd name="connsiteX30" fmla="*/ 87523 w 117532"/>
                  <a:gd name="connsiteY30" fmla="*/ 27229 h 103789"/>
                  <a:gd name="connsiteX31" fmla="*/ 89796 w 117532"/>
                  <a:gd name="connsiteY31" fmla="*/ 36323 h 103789"/>
                  <a:gd name="connsiteX32" fmla="*/ 92070 w 117532"/>
                  <a:gd name="connsiteY32" fmla="*/ 48322 h 103789"/>
                  <a:gd name="connsiteX33" fmla="*/ 92828 w 117532"/>
                  <a:gd name="connsiteY33" fmla="*/ 59816 h 103789"/>
                  <a:gd name="connsiteX34" fmla="*/ 92575 w 117532"/>
                  <a:gd name="connsiteY34" fmla="*/ 67015 h 103789"/>
                  <a:gd name="connsiteX35" fmla="*/ 90428 w 117532"/>
                  <a:gd name="connsiteY35" fmla="*/ 72193 h 103789"/>
                  <a:gd name="connsiteX36" fmla="*/ 86512 w 117532"/>
                  <a:gd name="connsiteY36" fmla="*/ 72951 h 103789"/>
                  <a:gd name="connsiteX37" fmla="*/ 80323 w 117532"/>
                  <a:gd name="connsiteY37" fmla="*/ 72446 h 103789"/>
                  <a:gd name="connsiteX38" fmla="*/ 75650 w 117532"/>
                  <a:gd name="connsiteY38" fmla="*/ 70804 h 103789"/>
                  <a:gd name="connsiteX39" fmla="*/ 76282 w 117532"/>
                  <a:gd name="connsiteY39" fmla="*/ 69036 h 103789"/>
                  <a:gd name="connsiteX40" fmla="*/ 78808 w 117532"/>
                  <a:gd name="connsiteY40" fmla="*/ 65626 h 103789"/>
                  <a:gd name="connsiteX41" fmla="*/ 81208 w 117532"/>
                  <a:gd name="connsiteY41" fmla="*/ 59816 h 103789"/>
                  <a:gd name="connsiteX42" fmla="*/ 81713 w 117532"/>
                  <a:gd name="connsiteY42" fmla="*/ 57289 h 103789"/>
                  <a:gd name="connsiteX43" fmla="*/ 83228 w 117532"/>
                  <a:gd name="connsiteY43" fmla="*/ 55648 h 103789"/>
                  <a:gd name="connsiteX44" fmla="*/ 85376 w 117532"/>
                  <a:gd name="connsiteY44" fmla="*/ 49206 h 103789"/>
                  <a:gd name="connsiteX45" fmla="*/ 86891 w 117532"/>
                  <a:gd name="connsiteY45" fmla="*/ 42386 h 103789"/>
                  <a:gd name="connsiteX46" fmla="*/ 87018 w 117532"/>
                  <a:gd name="connsiteY46" fmla="*/ 39354 h 103789"/>
                  <a:gd name="connsiteX47" fmla="*/ 85628 w 117532"/>
                  <a:gd name="connsiteY47" fmla="*/ 36576 h 103789"/>
                  <a:gd name="connsiteX48" fmla="*/ 84239 w 117532"/>
                  <a:gd name="connsiteY48" fmla="*/ 35313 h 103789"/>
                  <a:gd name="connsiteX49" fmla="*/ 83986 w 117532"/>
                  <a:gd name="connsiteY49" fmla="*/ 32786 h 103789"/>
                  <a:gd name="connsiteX50" fmla="*/ 84239 w 117532"/>
                  <a:gd name="connsiteY50" fmla="*/ 29755 h 103789"/>
                  <a:gd name="connsiteX51" fmla="*/ 85502 w 117532"/>
                  <a:gd name="connsiteY51" fmla="*/ 27861 h 103789"/>
                  <a:gd name="connsiteX52" fmla="*/ 86982 w 117532"/>
                  <a:gd name="connsiteY52" fmla="*/ 26674 h 103789"/>
                  <a:gd name="connsiteX53" fmla="*/ 50879 w 117532"/>
                  <a:gd name="connsiteY53" fmla="*/ 8152 h 103789"/>
                  <a:gd name="connsiteX54" fmla="*/ 41785 w 117532"/>
                  <a:gd name="connsiteY54" fmla="*/ 36646 h 103789"/>
                  <a:gd name="connsiteX55" fmla="*/ 54113 w 117532"/>
                  <a:gd name="connsiteY55" fmla="*/ 15629 h 103789"/>
                  <a:gd name="connsiteX56" fmla="*/ 53894 w 117532"/>
                  <a:gd name="connsiteY56" fmla="*/ 0 h 103789"/>
                  <a:gd name="connsiteX57" fmla="*/ 57672 w 117532"/>
                  <a:gd name="connsiteY57" fmla="*/ 32 h 103789"/>
                  <a:gd name="connsiteX58" fmla="*/ 62893 w 117532"/>
                  <a:gd name="connsiteY58" fmla="*/ 537 h 103789"/>
                  <a:gd name="connsiteX59" fmla="*/ 68956 w 117532"/>
                  <a:gd name="connsiteY59" fmla="*/ 3231 h 103789"/>
                  <a:gd name="connsiteX60" fmla="*/ 75860 w 117532"/>
                  <a:gd name="connsiteY60" fmla="*/ 8789 h 103789"/>
                  <a:gd name="connsiteX61" fmla="*/ 83944 w 117532"/>
                  <a:gd name="connsiteY61" fmla="*/ 18388 h 103789"/>
                  <a:gd name="connsiteX62" fmla="*/ 86976 w 117532"/>
                  <a:gd name="connsiteY62" fmla="*/ 23440 h 103789"/>
                  <a:gd name="connsiteX63" fmla="*/ 85628 w 117532"/>
                  <a:gd name="connsiteY63" fmla="*/ 26640 h 103789"/>
                  <a:gd name="connsiteX64" fmla="*/ 82765 w 117532"/>
                  <a:gd name="connsiteY64" fmla="*/ 28155 h 103789"/>
                  <a:gd name="connsiteX65" fmla="*/ 80744 w 117532"/>
                  <a:gd name="connsiteY65" fmla="*/ 26471 h 103789"/>
                  <a:gd name="connsiteX66" fmla="*/ 76197 w 117532"/>
                  <a:gd name="connsiteY66" fmla="*/ 21756 h 103789"/>
                  <a:gd name="connsiteX67" fmla="*/ 68114 w 117532"/>
                  <a:gd name="connsiteY67" fmla="*/ 17883 h 103789"/>
                  <a:gd name="connsiteX68" fmla="*/ 59356 w 117532"/>
                  <a:gd name="connsiteY68" fmla="*/ 17883 h 103789"/>
                  <a:gd name="connsiteX69" fmla="*/ 70760 w 117532"/>
                  <a:gd name="connsiteY69" fmla="*/ 20409 h 103789"/>
                  <a:gd name="connsiteX70" fmla="*/ 76318 w 117532"/>
                  <a:gd name="connsiteY70" fmla="*/ 23738 h 103789"/>
                  <a:gd name="connsiteX71" fmla="*/ 81593 w 117532"/>
                  <a:gd name="connsiteY71" fmla="*/ 29254 h 103789"/>
                  <a:gd name="connsiteX72" fmla="*/ 80845 w 117532"/>
                  <a:gd name="connsiteY72" fmla="*/ 32155 h 103789"/>
                  <a:gd name="connsiteX73" fmla="*/ 80845 w 117532"/>
                  <a:gd name="connsiteY73" fmla="*/ 38329 h 103789"/>
                  <a:gd name="connsiteX74" fmla="*/ 83734 w 117532"/>
                  <a:gd name="connsiteY74" fmla="*/ 40618 h 103789"/>
                  <a:gd name="connsiteX75" fmla="*/ 80657 w 117532"/>
                  <a:gd name="connsiteY75" fmla="*/ 54146 h 103789"/>
                  <a:gd name="connsiteX76" fmla="*/ 78898 w 117532"/>
                  <a:gd name="connsiteY76" fmla="*/ 55326 h 103789"/>
                  <a:gd name="connsiteX77" fmla="*/ 69744 w 117532"/>
                  <a:gd name="connsiteY77" fmla="*/ 70547 h 103789"/>
                  <a:gd name="connsiteX78" fmla="*/ 62196 w 117532"/>
                  <a:gd name="connsiteY78" fmla="*/ 75850 h 103789"/>
                  <a:gd name="connsiteX79" fmla="*/ 54921 w 117532"/>
                  <a:gd name="connsiteY79" fmla="*/ 75850 h 103789"/>
                  <a:gd name="connsiteX80" fmla="*/ 44647 w 117532"/>
                  <a:gd name="connsiteY80" fmla="*/ 69756 h 103789"/>
                  <a:gd name="connsiteX81" fmla="*/ 36827 w 117532"/>
                  <a:gd name="connsiteY81" fmla="*/ 54632 h 103789"/>
                  <a:gd name="connsiteX82" fmla="*/ 31679 w 117532"/>
                  <a:gd name="connsiteY82" fmla="*/ 42769 h 103789"/>
                  <a:gd name="connsiteX83" fmla="*/ 33688 w 117532"/>
                  <a:gd name="connsiteY83" fmla="*/ 39439 h 103789"/>
                  <a:gd name="connsiteX84" fmla="*/ 32770 w 117532"/>
                  <a:gd name="connsiteY84" fmla="*/ 33888 h 103789"/>
                  <a:gd name="connsiteX85" fmla="*/ 30558 w 117532"/>
                  <a:gd name="connsiteY85" fmla="*/ 35565 h 103789"/>
                  <a:gd name="connsiteX86" fmla="*/ 29211 w 117532"/>
                  <a:gd name="connsiteY86" fmla="*/ 37249 h 103789"/>
                  <a:gd name="connsiteX87" fmla="*/ 28032 w 117532"/>
                  <a:gd name="connsiteY87" fmla="*/ 40449 h 103789"/>
                  <a:gd name="connsiteX88" fmla="*/ 28537 w 117532"/>
                  <a:gd name="connsiteY88" fmla="*/ 43649 h 103789"/>
                  <a:gd name="connsiteX89" fmla="*/ 29379 w 117532"/>
                  <a:gd name="connsiteY89" fmla="*/ 48532 h 103789"/>
                  <a:gd name="connsiteX90" fmla="*/ 31400 w 117532"/>
                  <a:gd name="connsiteY90" fmla="*/ 56447 h 103789"/>
                  <a:gd name="connsiteX91" fmla="*/ 33590 w 117532"/>
                  <a:gd name="connsiteY91" fmla="*/ 58300 h 103789"/>
                  <a:gd name="connsiteX92" fmla="*/ 34937 w 117532"/>
                  <a:gd name="connsiteY92" fmla="*/ 61836 h 103789"/>
                  <a:gd name="connsiteX93" fmla="*/ 38137 w 117532"/>
                  <a:gd name="connsiteY93" fmla="*/ 68067 h 103789"/>
                  <a:gd name="connsiteX94" fmla="*/ 39484 w 117532"/>
                  <a:gd name="connsiteY94" fmla="*/ 71941 h 103789"/>
                  <a:gd name="connsiteX95" fmla="*/ 35779 w 117532"/>
                  <a:gd name="connsiteY95" fmla="*/ 72951 h 103789"/>
                  <a:gd name="connsiteX96" fmla="*/ 30390 w 117532"/>
                  <a:gd name="connsiteY96" fmla="*/ 73625 h 103789"/>
                  <a:gd name="connsiteX97" fmla="*/ 25506 w 117532"/>
                  <a:gd name="connsiteY97" fmla="*/ 72446 h 103789"/>
                  <a:gd name="connsiteX98" fmla="*/ 23317 w 117532"/>
                  <a:gd name="connsiteY98" fmla="*/ 68741 h 103789"/>
                  <a:gd name="connsiteX99" fmla="*/ 22306 w 117532"/>
                  <a:gd name="connsiteY99" fmla="*/ 62173 h 103789"/>
                  <a:gd name="connsiteX100" fmla="*/ 22643 w 117532"/>
                  <a:gd name="connsiteY100" fmla="*/ 53585 h 103789"/>
                  <a:gd name="connsiteX101" fmla="*/ 25338 w 117532"/>
                  <a:gd name="connsiteY101" fmla="*/ 35228 h 103789"/>
                  <a:gd name="connsiteX102" fmla="*/ 31569 w 117532"/>
                  <a:gd name="connsiteY102" fmla="*/ 16535 h 103789"/>
                  <a:gd name="connsiteX103" fmla="*/ 36789 w 117532"/>
                  <a:gd name="connsiteY103" fmla="*/ 7947 h 103789"/>
                  <a:gd name="connsiteX104" fmla="*/ 41842 w 117532"/>
                  <a:gd name="connsiteY104" fmla="*/ 3736 h 103789"/>
                  <a:gd name="connsiteX105" fmla="*/ 46389 w 117532"/>
                  <a:gd name="connsiteY105" fmla="*/ 3063 h 103789"/>
                  <a:gd name="connsiteX106" fmla="*/ 50262 w 117532"/>
                  <a:gd name="connsiteY106" fmla="*/ 368 h 103789"/>
                  <a:gd name="connsiteX107" fmla="*/ 53894 w 117532"/>
                  <a:gd name="connsiteY107" fmla="*/ 0 h 10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7532" h="103789">
                    <a:moveTo>
                      <a:pt x="33407" y="86265"/>
                    </a:moveTo>
                    <a:cubicBezTo>
                      <a:pt x="35181" y="89188"/>
                      <a:pt x="37867" y="93387"/>
                      <a:pt x="40699" y="97471"/>
                    </a:cubicBezTo>
                    <a:lnTo>
                      <a:pt x="45604" y="103789"/>
                    </a:lnTo>
                    <a:lnTo>
                      <a:pt x="0" y="103789"/>
                    </a:lnTo>
                    <a:lnTo>
                      <a:pt x="4413" y="97606"/>
                    </a:lnTo>
                    <a:lnTo>
                      <a:pt x="12017" y="94044"/>
                    </a:lnTo>
                    <a:lnTo>
                      <a:pt x="19949" y="91518"/>
                    </a:lnTo>
                    <a:lnTo>
                      <a:pt x="30558" y="87350"/>
                    </a:lnTo>
                    <a:close/>
                    <a:moveTo>
                      <a:pt x="82840" y="84764"/>
                    </a:moveTo>
                    <a:lnTo>
                      <a:pt x="83734" y="85076"/>
                    </a:lnTo>
                    <a:lnTo>
                      <a:pt x="92828" y="87981"/>
                    </a:lnTo>
                    <a:lnTo>
                      <a:pt x="110587" y="93943"/>
                    </a:lnTo>
                    <a:cubicBezTo>
                      <a:pt x="110881" y="95080"/>
                      <a:pt x="115639" y="97732"/>
                      <a:pt x="116321" y="100587"/>
                    </a:cubicBezTo>
                    <a:lnTo>
                      <a:pt x="117532" y="103789"/>
                    </a:lnTo>
                    <a:lnTo>
                      <a:pt x="74306" y="103789"/>
                    </a:lnTo>
                    <a:close/>
                    <a:moveTo>
                      <a:pt x="71232" y="72363"/>
                    </a:moveTo>
                    <a:cubicBezTo>
                      <a:pt x="71296" y="74039"/>
                      <a:pt x="70526" y="77895"/>
                      <a:pt x="70850" y="78357"/>
                    </a:cubicBezTo>
                    <a:cubicBezTo>
                      <a:pt x="73034" y="81256"/>
                      <a:pt x="77441" y="81125"/>
                      <a:pt x="80029" y="83014"/>
                    </a:cubicBezTo>
                    <a:cubicBezTo>
                      <a:pt x="78155" y="88701"/>
                      <a:pt x="75901" y="95865"/>
                      <a:pt x="73715" y="99898"/>
                    </a:cubicBezTo>
                    <a:lnTo>
                      <a:pt x="71447" y="103789"/>
                    </a:lnTo>
                    <a:lnTo>
                      <a:pt x="48356" y="103789"/>
                    </a:lnTo>
                    <a:lnTo>
                      <a:pt x="45827" y="101110"/>
                    </a:lnTo>
                    <a:cubicBezTo>
                      <a:pt x="42859" y="97553"/>
                      <a:pt x="39054" y="90891"/>
                      <a:pt x="35905" y="85274"/>
                    </a:cubicBezTo>
                    <a:cubicBezTo>
                      <a:pt x="36914" y="84424"/>
                      <a:pt x="44051" y="81093"/>
                      <a:pt x="45412" y="79039"/>
                    </a:cubicBezTo>
                    <a:cubicBezTo>
                      <a:pt x="45504" y="77096"/>
                      <a:pt x="45588" y="75938"/>
                      <a:pt x="45291" y="72840"/>
                    </a:cubicBezTo>
                    <a:cubicBezTo>
                      <a:pt x="47288" y="74045"/>
                      <a:pt x="48769" y="75651"/>
                      <a:pt x="51283" y="76456"/>
                    </a:cubicBezTo>
                    <a:cubicBezTo>
                      <a:pt x="53798" y="77261"/>
                      <a:pt x="57548" y="78039"/>
                      <a:pt x="60377" y="77669"/>
                    </a:cubicBezTo>
                    <a:cubicBezTo>
                      <a:pt x="63207" y="77298"/>
                      <a:pt x="66450" y="75117"/>
                      <a:pt x="68259" y="74233"/>
                    </a:cubicBezTo>
                    <a:cubicBezTo>
                      <a:pt x="70068" y="73349"/>
                      <a:pt x="70313" y="72578"/>
                      <a:pt x="71232" y="72363"/>
                    </a:cubicBezTo>
                    <a:close/>
                    <a:moveTo>
                      <a:pt x="86982" y="26674"/>
                    </a:moveTo>
                    <a:lnTo>
                      <a:pt x="87523" y="27229"/>
                    </a:lnTo>
                    <a:cubicBezTo>
                      <a:pt x="88239" y="28639"/>
                      <a:pt x="89039" y="32808"/>
                      <a:pt x="89796" y="36323"/>
                    </a:cubicBezTo>
                    <a:cubicBezTo>
                      <a:pt x="90554" y="39838"/>
                      <a:pt x="91565" y="44406"/>
                      <a:pt x="92070" y="48322"/>
                    </a:cubicBezTo>
                    <a:cubicBezTo>
                      <a:pt x="92575" y="52237"/>
                      <a:pt x="92744" y="56700"/>
                      <a:pt x="92828" y="59816"/>
                    </a:cubicBezTo>
                    <a:cubicBezTo>
                      <a:pt x="92912" y="62931"/>
                      <a:pt x="92975" y="64952"/>
                      <a:pt x="92575" y="67015"/>
                    </a:cubicBezTo>
                    <a:cubicBezTo>
                      <a:pt x="92175" y="69078"/>
                      <a:pt x="91438" y="71204"/>
                      <a:pt x="90428" y="72193"/>
                    </a:cubicBezTo>
                    <a:cubicBezTo>
                      <a:pt x="89417" y="73183"/>
                      <a:pt x="88197" y="72909"/>
                      <a:pt x="86512" y="72951"/>
                    </a:cubicBezTo>
                    <a:cubicBezTo>
                      <a:pt x="84828" y="72993"/>
                      <a:pt x="82134" y="72804"/>
                      <a:pt x="80323" y="72446"/>
                    </a:cubicBezTo>
                    <a:cubicBezTo>
                      <a:pt x="78513" y="72088"/>
                      <a:pt x="76324" y="71372"/>
                      <a:pt x="75650" y="70804"/>
                    </a:cubicBezTo>
                    <a:cubicBezTo>
                      <a:pt x="74976" y="70236"/>
                      <a:pt x="75755" y="69899"/>
                      <a:pt x="76282" y="69036"/>
                    </a:cubicBezTo>
                    <a:cubicBezTo>
                      <a:pt x="76808" y="68173"/>
                      <a:pt x="77987" y="67162"/>
                      <a:pt x="78808" y="65626"/>
                    </a:cubicBezTo>
                    <a:cubicBezTo>
                      <a:pt x="79629" y="64089"/>
                      <a:pt x="80723" y="61205"/>
                      <a:pt x="81208" y="59816"/>
                    </a:cubicBezTo>
                    <a:cubicBezTo>
                      <a:pt x="81692" y="58426"/>
                      <a:pt x="81376" y="57984"/>
                      <a:pt x="81713" y="57289"/>
                    </a:cubicBezTo>
                    <a:cubicBezTo>
                      <a:pt x="82050" y="56595"/>
                      <a:pt x="82618" y="56995"/>
                      <a:pt x="83228" y="55648"/>
                    </a:cubicBezTo>
                    <a:cubicBezTo>
                      <a:pt x="83839" y="54300"/>
                      <a:pt x="84765" y="51416"/>
                      <a:pt x="85376" y="49206"/>
                    </a:cubicBezTo>
                    <a:cubicBezTo>
                      <a:pt x="85986" y="46996"/>
                      <a:pt x="86618" y="44028"/>
                      <a:pt x="86891" y="42386"/>
                    </a:cubicBezTo>
                    <a:cubicBezTo>
                      <a:pt x="87165" y="40744"/>
                      <a:pt x="87228" y="40323"/>
                      <a:pt x="87018" y="39354"/>
                    </a:cubicBezTo>
                    <a:cubicBezTo>
                      <a:pt x="86807" y="38386"/>
                      <a:pt x="86091" y="37249"/>
                      <a:pt x="85628" y="36576"/>
                    </a:cubicBezTo>
                    <a:cubicBezTo>
                      <a:pt x="85165" y="35902"/>
                      <a:pt x="84513" y="35944"/>
                      <a:pt x="84239" y="35313"/>
                    </a:cubicBezTo>
                    <a:cubicBezTo>
                      <a:pt x="83965" y="34681"/>
                      <a:pt x="83986" y="33713"/>
                      <a:pt x="83986" y="32786"/>
                    </a:cubicBezTo>
                    <a:cubicBezTo>
                      <a:pt x="83986" y="31860"/>
                      <a:pt x="83986" y="30576"/>
                      <a:pt x="84239" y="29755"/>
                    </a:cubicBezTo>
                    <a:cubicBezTo>
                      <a:pt x="84492" y="28934"/>
                      <a:pt x="84955" y="28282"/>
                      <a:pt x="85502" y="27861"/>
                    </a:cubicBezTo>
                    <a:cubicBezTo>
                      <a:pt x="85912" y="27545"/>
                      <a:pt x="86441" y="26554"/>
                      <a:pt x="86982" y="26674"/>
                    </a:cubicBezTo>
                    <a:close/>
                    <a:moveTo>
                      <a:pt x="50879" y="8152"/>
                    </a:moveTo>
                    <a:cubicBezTo>
                      <a:pt x="57346" y="24319"/>
                      <a:pt x="41583" y="28158"/>
                      <a:pt x="41785" y="36646"/>
                    </a:cubicBezTo>
                    <a:cubicBezTo>
                      <a:pt x="44008" y="26138"/>
                      <a:pt x="56538" y="25329"/>
                      <a:pt x="54113" y="15629"/>
                    </a:cubicBezTo>
                    <a:close/>
                    <a:moveTo>
                      <a:pt x="53894" y="0"/>
                    </a:moveTo>
                    <a:lnTo>
                      <a:pt x="57672" y="32"/>
                    </a:lnTo>
                    <a:cubicBezTo>
                      <a:pt x="59777" y="60"/>
                      <a:pt x="61012" y="4"/>
                      <a:pt x="62893" y="537"/>
                    </a:cubicBezTo>
                    <a:cubicBezTo>
                      <a:pt x="64773" y="1070"/>
                      <a:pt x="66794" y="1856"/>
                      <a:pt x="68956" y="3231"/>
                    </a:cubicBezTo>
                    <a:cubicBezTo>
                      <a:pt x="71117" y="4607"/>
                      <a:pt x="73362" y="6263"/>
                      <a:pt x="75860" y="8789"/>
                    </a:cubicBezTo>
                    <a:cubicBezTo>
                      <a:pt x="78359" y="11315"/>
                      <a:pt x="82092" y="15946"/>
                      <a:pt x="83944" y="18388"/>
                    </a:cubicBezTo>
                    <a:cubicBezTo>
                      <a:pt x="85797" y="20830"/>
                      <a:pt x="86695" y="22065"/>
                      <a:pt x="86976" y="23440"/>
                    </a:cubicBezTo>
                    <a:cubicBezTo>
                      <a:pt x="87256" y="24815"/>
                      <a:pt x="86330" y="25854"/>
                      <a:pt x="85628" y="26640"/>
                    </a:cubicBezTo>
                    <a:cubicBezTo>
                      <a:pt x="84927" y="27426"/>
                      <a:pt x="83579" y="28183"/>
                      <a:pt x="82765" y="28155"/>
                    </a:cubicBezTo>
                    <a:cubicBezTo>
                      <a:pt x="81951" y="28127"/>
                      <a:pt x="81839" y="27538"/>
                      <a:pt x="80744" y="26471"/>
                    </a:cubicBezTo>
                    <a:cubicBezTo>
                      <a:pt x="79650" y="25405"/>
                      <a:pt x="78302" y="23187"/>
                      <a:pt x="76197" y="21756"/>
                    </a:cubicBezTo>
                    <a:cubicBezTo>
                      <a:pt x="74092" y="20324"/>
                      <a:pt x="70920" y="18528"/>
                      <a:pt x="68114" y="17883"/>
                    </a:cubicBezTo>
                    <a:cubicBezTo>
                      <a:pt x="65307" y="17237"/>
                      <a:pt x="58915" y="17462"/>
                      <a:pt x="59356" y="17883"/>
                    </a:cubicBezTo>
                    <a:cubicBezTo>
                      <a:pt x="59797" y="18304"/>
                      <a:pt x="67370" y="18495"/>
                      <a:pt x="70760" y="20409"/>
                    </a:cubicBezTo>
                    <a:cubicBezTo>
                      <a:pt x="74150" y="22323"/>
                      <a:pt x="74512" y="22264"/>
                      <a:pt x="76318" y="23738"/>
                    </a:cubicBezTo>
                    <a:cubicBezTo>
                      <a:pt x="78123" y="25213"/>
                      <a:pt x="80370" y="27914"/>
                      <a:pt x="81593" y="29254"/>
                    </a:cubicBezTo>
                    <a:cubicBezTo>
                      <a:pt x="81104" y="31135"/>
                      <a:pt x="81159" y="30531"/>
                      <a:pt x="80845" y="32155"/>
                    </a:cubicBezTo>
                    <a:cubicBezTo>
                      <a:pt x="81536" y="33819"/>
                      <a:pt x="80845" y="38327"/>
                      <a:pt x="80845" y="38329"/>
                    </a:cubicBezTo>
                    <a:cubicBezTo>
                      <a:pt x="80849" y="38329"/>
                      <a:pt x="83734" y="38539"/>
                      <a:pt x="83734" y="40618"/>
                    </a:cubicBezTo>
                    <a:cubicBezTo>
                      <a:pt x="83734" y="42699"/>
                      <a:pt x="80658" y="54142"/>
                      <a:pt x="80657" y="54146"/>
                    </a:cubicBezTo>
                    <a:cubicBezTo>
                      <a:pt x="80655" y="54149"/>
                      <a:pt x="79839" y="55534"/>
                      <a:pt x="78898" y="55326"/>
                    </a:cubicBezTo>
                    <a:cubicBezTo>
                      <a:pt x="77903" y="63716"/>
                      <a:pt x="72681" y="67959"/>
                      <a:pt x="69744" y="70547"/>
                    </a:cubicBezTo>
                    <a:cubicBezTo>
                      <a:pt x="66994" y="73866"/>
                      <a:pt x="64667" y="74966"/>
                      <a:pt x="62196" y="75850"/>
                    </a:cubicBezTo>
                    <a:cubicBezTo>
                      <a:pt x="59726" y="76734"/>
                      <a:pt x="57846" y="76866"/>
                      <a:pt x="54921" y="75850"/>
                    </a:cubicBezTo>
                    <a:cubicBezTo>
                      <a:pt x="51996" y="74834"/>
                      <a:pt x="47663" y="73292"/>
                      <a:pt x="44647" y="69756"/>
                    </a:cubicBezTo>
                    <a:cubicBezTo>
                      <a:pt x="43831" y="68368"/>
                      <a:pt x="37016" y="62194"/>
                      <a:pt x="36827" y="54632"/>
                    </a:cubicBezTo>
                    <a:cubicBezTo>
                      <a:pt x="34190" y="54424"/>
                      <a:pt x="32683" y="46793"/>
                      <a:pt x="31679" y="42769"/>
                    </a:cubicBezTo>
                    <a:cubicBezTo>
                      <a:pt x="30863" y="39371"/>
                      <a:pt x="33686" y="39439"/>
                      <a:pt x="33688" y="39439"/>
                    </a:cubicBezTo>
                    <a:cubicBezTo>
                      <a:pt x="33686" y="39434"/>
                      <a:pt x="32098" y="36136"/>
                      <a:pt x="32770" y="33888"/>
                    </a:cubicBezTo>
                    <a:cubicBezTo>
                      <a:pt x="31290" y="34690"/>
                      <a:pt x="31152" y="35005"/>
                      <a:pt x="30558" y="35565"/>
                    </a:cubicBezTo>
                    <a:cubicBezTo>
                      <a:pt x="29965" y="36125"/>
                      <a:pt x="29632" y="36435"/>
                      <a:pt x="29211" y="37249"/>
                    </a:cubicBezTo>
                    <a:cubicBezTo>
                      <a:pt x="28790" y="38063"/>
                      <a:pt x="28144" y="39382"/>
                      <a:pt x="28032" y="40449"/>
                    </a:cubicBezTo>
                    <a:cubicBezTo>
                      <a:pt x="27920" y="41515"/>
                      <a:pt x="28313" y="42301"/>
                      <a:pt x="28537" y="43649"/>
                    </a:cubicBezTo>
                    <a:cubicBezTo>
                      <a:pt x="28762" y="44996"/>
                      <a:pt x="28902" y="46399"/>
                      <a:pt x="29379" y="48532"/>
                    </a:cubicBezTo>
                    <a:cubicBezTo>
                      <a:pt x="29857" y="50666"/>
                      <a:pt x="30699" y="54820"/>
                      <a:pt x="31400" y="56447"/>
                    </a:cubicBezTo>
                    <a:cubicBezTo>
                      <a:pt x="32102" y="58075"/>
                      <a:pt x="33000" y="57402"/>
                      <a:pt x="33590" y="58300"/>
                    </a:cubicBezTo>
                    <a:cubicBezTo>
                      <a:pt x="34179" y="59198"/>
                      <a:pt x="34179" y="60209"/>
                      <a:pt x="34937" y="61836"/>
                    </a:cubicBezTo>
                    <a:cubicBezTo>
                      <a:pt x="35695" y="63464"/>
                      <a:pt x="37379" y="66383"/>
                      <a:pt x="38137" y="68067"/>
                    </a:cubicBezTo>
                    <a:cubicBezTo>
                      <a:pt x="38895" y="69752"/>
                      <a:pt x="39877" y="71127"/>
                      <a:pt x="39484" y="71941"/>
                    </a:cubicBezTo>
                    <a:cubicBezTo>
                      <a:pt x="39091" y="72755"/>
                      <a:pt x="37295" y="72671"/>
                      <a:pt x="35779" y="72951"/>
                    </a:cubicBezTo>
                    <a:cubicBezTo>
                      <a:pt x="34263" y="73232"/>
                      <a:pt x="32102" y="73709"/>
                      <a:pt x="30390" y="73625"/>
                    </a:cubicBezTo>
                    <a:cubicBezTo>
                      <a:pt x="28678" y="73541"/>
                      <a:pt x="26685" y="73260"/>
                      <a:pt x="25506" y="72446"/>
                    </a:cubicBezTo>
                    <a:cubicBezTo>
                      <a:pt x="24327" y="71632"/>
                      <a:pt x="23850" y="70453"/>
                      <a:pt x="23317" y="68741"/>
                    </a:cubicBezTo>
                    <a:cubicBezTo>
                      <a:pt x="22783" y="67029"/>
                      <a:pt x="22419" y="64699"/>
                      <a:pt x="22306" y="62173"/>
                    </a:cubicBezTo>
                    <a:cubicBezTo>
                      <a:pt x="22194" y="59647"/>
                      <a:pt x="22138" y="58075"/>
                      <a:pt x="22643" y="53585"/>
                    </a:cubicBezTo>
                    <a:cubicBezTo>
                      <a:pt x="23148" y="49094"/>
                      <a:pt x="23850" y="41403"/>
                      <a:pt x="25338" y="35228"/>
                    </a:cubicBezTo>
                    <a:cubicBezTo>
                      <a:pt x="26825" y="29054"/>
                      <a:pt x="29660" y="21082"/>
                      <a:pt x="31569" y="16535"/>
                    </a:cubicBezTo>
                    <a:cubicBezTo>
                      <a:pt x="33477" y="11988"/>
                      <a:pt x="35077" y="10080"/>
                      <a:pt x="36789" y="7947"/>
                    </a:cubicBezTo>
                    <a:cubicBezTo>
                      <a:pt x="38502" y="5814"/>
                      <a:pt x="40242" y="4551"/>
                      <a:pt x="41842" y="3736"/>
                    </a:cubicBezTo>
                    <a:cubicBezTo>
                      <a:pt x="43442" y="2923"/>
                      <a:pt x="44985" y="3624"/>
                      <a:pt x="46389" y="3063"/>
                    </a:cubicBezTo>
                    <a:cubicBezTo>
                      <a:pt x="47792" y="2502"/>
                      <a:pt x="48354" y="874"/>
                      <a:pt x="50262" y="368"/>
                    </a:cubicBezTo>
                    <a:cubicBezTo>
                      <a:pt x="51217" y="116"/>
                      <a:pt x="52543" y="25"/>
                      <a:pt x="538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1243380">
                  <a:defRPr/>
                </a:pPr>
                <a:endParaRPr lang="en-US" sz="2448">
                  <a:solidFill>
                    <a:prstClr val="white"/>
                  </a:solidFill>
                  <a:latin typeface="Segoe UI"/>
                </a:endParaRPr>
              </a:p>
            </p:txBody>
          </p:sp>
        </p:grpSp>
        <p:pic>
          <p:nvPicPr>
            <p:cNvPr id="871" name="Picture 870"/>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201550" y="8734365"/>
              <a:ext cx="180975" cy="180975"/>
            </a:xfrm>
            <a:custGeom>
              <a:avLst/>
              <a:gdLst>
                <a:gd name="connsiteX0" fmla="*/ 0 w 180975"/>
                <a:gd name="connsiteY0" fmla="*/ 0 h 180975"/>
                <a:gd name="connsiteX1" fmla="*/ 180975 w 180975"/>
                <a:gd name="connsiteY1" fmla="*/ 0 h 180975"/>
                <a:gd name="connsiteX2" fmla="*/ 180975 w 180975"/>
                <a:gd name="connsiteY2" fmla="*/ 180975 h 180975"/>
                <a:gd name="connsiteX3" fmla="*/ 0 w 180975"/>
                <a:gd name="connsiteY3" fmla="*/ 180975 h 180975"/>
              </a:gdLst>
              <a:ahLst/>
              <a:cxnLst>
                <a:cxn ang="0">
                  <a:pos x="connsiteX0" y="connsiteY0"/>
                </a:cxn>
                <a:cxn ang="0">
                  <a:pos x="connsiteX1" y="connsiteY1"/>
                </a:cxn>
                <a:cxn ang="0">
                  <a:pos x="connsiteX2" y="connsiteY2"/>
                </a:cxn>
                <a:cxn ang="0">
                  <a:pos x="connsiteX3" y="connsiteY3"/>
                </a:cxn>
              </a:cxnLst>
              <a:rect l="l" t="t" r="r" b="b"/>
              <a:pathLst>
                <a:path w="180975" h="180975">
                  <a:moveTo>
                    <a:pt x="0" y="0"/>
                  </a:moveTo>
                  <a:lnTo>
                    <a:pt x="180975" y="0"/>
                  </a:lnTo>
                  <a:lnTo>
                    <a:pt x="180975" y="180975"/>
                  </a:lnTo>
                  <a:lnTo>
                    <a:pt x="0" y="180975"/>
                  </a:lnTo>
                  <a:close/>
                </a:path>
              </a:pathLst>
            </a:custGeom>
          </p:spPr>
        </p:pic>
        <p:pic>
          <p:nvPicPr>
            <p:cNvPr id="872" name="Picture 871"/>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201550" y="9776289"/>
              <a:ext cx="180975" cy="180975"/>
            </a:xfrm>
            <a:custGeom>
              <a:avLst/>
              <a:gdLst>
                <a:gd name="connsiteX0" fmla="*/ 0 w 180975"/>
                <a:gd name="connsiteY0" fmla="*/ 0 h 180975"/>
                <a:gd name="connsiteX1" fmla="*/ 180975 w 180975"/>
                <a:gd name="connsiteY1" fmla="*/ 0 h 180975"/>
                <a:gd name="connsiteX2" fmla="*/ 180975 w 180975"/>
                <a:gd name="connsiteY2" fmla="*/ 180975 h 180975"/>
                <a:gd name="connsiteX3" fmla="*/ 0 w 180975"/>
                <a:gd name="connsiteY3" fmla="*/ 180975 h 180975"/>
              </a:gdLst>
              <a:ahLst/>
              <a:cxnLst>
                <a:cxn ang="0">
                  <a:pos x="connsiteX0" y="connsiteY0"/>
                </a:cxn>
                <a:cxn ang="0">
                  <a:pos x="connsiteX1" y="connsiteY1"/>
                </a:cxn>
                <a:cxn ang="0">
                  <a:pos x="connsiteX2" y="connsiteY2"/>
                </a:cxn>
                <a:cxn ang="0">
                  <a:pos x="connsiteX3" y="connsiteY3"/>
                </a:cxn>
              </a:cxnLst>
              <a:rect l="l" t="t" r="r" b="b"/>
              <a:pathLst>
                <a:path w="180975" h="180975">
                  <a:moveTo>
                    <a:pt x="0" y="0"/>
                  </a:moveTo>
                  <a:lnTo>
                    <a:pt x="180975" y="0"/>
                  </a:lnTo>
                  <a:lnTo>
                    <a:pt x="180975" y="180975"/>
                  </a:lnTo>
                  <a:lnTo>
                    <a:pt x="0" y="180975"/>
                  </a:lnTo>
                  <a:close/>
                </a:path>
              </a:pathLst>
            </a:custGeom>
          </p:spPr>
        </p:pic>
        <p:pic>
          <p:nvPicPr>
            <p:cNvPr id="873" name="Picture 87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201550" y="10451872"/>
              <a:ext cx="180975" cy="180975"/>
            </a:xfrm>
            <a:custGeom>
              <a:avLst/>
              <a:gdLst>
                <a:gd name="connsiteX0" fmla="*/ 0 w 180975"/>
                <a:gd name="connsiteY0" fmla="*/ 0 h 180975"/>
                <a:gd name="connsiteX1" fmla="*/ 180975 w 180975"/>
                <a:gd name="connsiteY1" fmla="*/ 0 h 180975"/>
                <a:gd name="connsiteX2" fmla="*/ 180975 w 180975"/>
                <a:gd name="connsiteY2" fmla="*/ 180975 h 180975"/>
                <a:gd name="connsiteX3" fmla="*/ 0 w 180975"/>
                <a:gd name="connsiteY3" fmla="*/ 180975 h 180975"/>
              </a:gdLst>
              <a:ahLst/>
              <a:cxnLst>
                <a:cxn ang="0">
                  <a:pos x="connsiteX0" y="connsiteY0"/>
                </a:cxn>
                <a:cxn ang="0">
                  <a:pos x="connsiteX1" y="connsiteY1"/>
                </a:cxn>
                <a:cxn ang="0">
                  <a:pos x="connsiteX2" y="connsiteY2"/>
                </a:cxn>
                <a:cxn ang="0">
                  <a:pos x="connsiteX3" y="connsiteY3"/>
                </a:cxn>
              </a:cxnLst>
              <a:rect l="l" t="t" r="r" b="b"/>
              <a:pathLst>
                <a:path w="180975" h="180975">
                  <a:moveTo>
                    <a:pt x="0" y="0"/>
                  </a:moveTo>
                  <a:lnTo>
                    <a:pt x="180975" y="0"/>
                  </a:lnTo>
                  <a:lnTo>
                    <a:pt x="180975" y="180975"/>
                  </a:lnTo>
                  <a:lnTo>
                    <a:pt x="0" y="180975"/>
                  </a:lnTo>
                  <a:close/>
                </a:path>
              </a:pathLst>
            </a:custGeom>
          </p:spPr>
        </p:pic>
        <p:pic>
          <p:nvPicPr>
            <p:cNvPr id="874" name="Picture 87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201550" y="11714891"/>
              <a:ext cx="180975" cy="180975"/>
            </a:xfrm>
            <a:custGeom>
              <a:avLst/>
              <a:gdLst>
                <a:gd name="connsiteX0" fmla="*/ 0 w 180975"/>
                <a:gd name="connsiteY0" fmla="*/ 0 h 180975"/>
                <a:gd name="connsiteX1" fmla="*/ 180975 w 180975"/>
                <a:gd name="connsiteY1" fmla="*/ 0 h 180975"/>
                <a:gd name="connsiteX2" fmla="*/ 180975 w 180975"/>
                <a:gd name="connsiteY2" fmla="*/ 180975 h 180975"/>
                <a:gd name="connsiteX3" fmla="*/ 0 w 180975"/>
                <a:gd name="connsiteY3" fmla="*/ 180975 h 180975"/>
              </a:gdLst>
              <a:ahLst/>
              <a:cxnLst>
                <a:cxn ang="0">
                  <a:pos x="connsiteX0" y="connsiteY0"/>
                </a:cxn>
                <a:cxn ang="0">
                  <a:pos x="connsiteX1" y="connsiteY1"/>
                </a:cxn>
                <a:cxn ang="0">
                  <a:pos x="connsiteX2" y="connsiteY2"/>
                </a:cxn>
                <a:cxn ang="0">
                  <a:pos x="connsiteX3" y="connsiteY3"/>
                </a:cxn>
              </a:cxnLst>
              <a:rect l="l" t="t" r="r" b="b"/>
              <a:pathLst>
                <a:path w="180975" h="180975">
                  <a:moveTo>
                    <a:pt x="0" y="0"/>
                  </a:moveTo>
                  <a:lnTo>
                    <a:pt x="180975" y="0"/>
                  </a:lnTo>
                  <a:lnTo>
                    <a:pt x="180975" y="180975"/>
                  </a:lnTo>
                  <a:lnTo>
                    <a:pt x="0" y="180975"/>
                  </a:lnTo>
                  <a:close/>
                </a:path>
              </a:pathLst>
            </a:custGeom>
          </p:spPr>
        </p:pic>
      </p:grpSp>
      <p:sp>
        <p:nvSpPr>
          <p:cNvPr id="1003" name="Rectangle 1002"/>
          <p:cNvSpPr/>
          <p:nvPr/>
        </p:nvSpPr>
        <p:spPr bwMode="auto">
          <a:xfrm>
            <a:off x="2649384" y="6151783"/>
            <a:ext cx="2302356" cy="6307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kern="0">
              <a:solidFill>
                <a:srgbClr val="505050"/>
              </a:solidFill>
              <a:latin typeface="Segoe UI"/>
              <a:ea typeface="Segoe UI" pitchFamily="34" charset="0"/>
              <a:cs typeface="Segoe UI" pitchFamily="34" charset="0"/>
            </a:endParaRPr>
          </a:p>
        </p:txBody>
      </p:sp>
      <p:sp>
        <p:nvSpPr>
          <p:cNvPr id="1004" name="Rectangle 1003"/>
          <p:cNvSpPr/>
          <p:nvPr/>
        </p:nvSpPr>
        <p:spPr bwMode="auto">
          <a:xfrm>
            <a:off x="2145657" y="6195241"/>
            <a:ext cx="7916690" cy="95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kern="0">
              <a:solidFill>
                <a:srgbClr val="505050"/>
              </a:solidFill>
              <a:latin typeface="Segoe UI"/>
              <a:ea typeface="Segoe UI" pitchFamily="34" charset="0"/>
              <a:cs typeface="Segoe UI" pitchFamily="34" charset="0"/>
            </a:endParaRPr>
          </a:p>
        </p:txBody>
      </p:sp>
      <p:sp>
        <p:nvSpPr>
          <p:cNvPr id="1005" name="Rectangle 1004"/>
          <p:cNvSpPr/>
          <p:nvPr/>
        </p:nvSpPr>
        <p:spPr bwMode="auto">
          <a:xfrm>
            <a:off x="882" y="159226"/>
            <a:ext cx="12434711" cy="2053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kern="0">
              <a:solidFill>
                <a:srgbClr val="505050"/>
              </a:solidFill>
              <a:latin typeface="Segoe UI"/>
              <a:ea typeface="Segoe UI" pitchFamily="34" charset="0"/>
              <a:cs typeface="Segoe UI" pitchFamily="34" charset="0"/>
            </a:endParaRPr>
          </a:p>
        </p:txBody>
      </p:sp>
      <p:sp>
        <p:nvSpPr>
          <p:cNvPr id="1006" name="Rectangle 1005"/>
          <p:cNvSpPr/>
          <p:nvPr/>
        </p:nvSpPr>
        <p:spPr bwMode="auto">
          <a:xfrm>
            <a:off x="4971383" y="6143432"/>
            <a:ext cx="2473055" cy="4204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cxnSp>
        <p:nvCxnSpPr>
          <p:cNvPr id="1007" name="Straight Connector 1006"/>
          <p:cNvCxnSpPr/>
          <p:nvPr/>
        </p:nvCxnSpPr>
        <p:spPr>
          <a:xfrm flipH="1" flipV="1">
            <a:off x="5103387" y="6162613"/>
            <a:ext cx="2220127" cy="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08" name="TextBox 1007"/>
          <p:cNvSpPr txBox="1"/>
          <p:nvPr/>
        </p:nvSpPr>
        <p:spPr>
          <a:xfrm>
            <a:off x="5519394" y="6323439"/>
            <a:ext cx="969505" cy="134522"/>
          </a:xfrm>
          <a:prstGeom prst="rect">
            <a:avLst/>
          </a:prstGeom>
          <a:noFill/>
        </p:spPr>
        <p:txBody>
          <a:bodyPr wrap="none" lIns="0" tIns="0" rIns="0" bIns="0" rtlCol="0">
            <a:spAutoFit/>
          </a:bodyPr>
          <a:lstStyle/>
          <a:p>
            <a:pPr defTabSz="1243431">
              <a:lnSpc>
                <a:spcPct val="90000"/>
              </a:lnSpc>
              <a:spcAft>
                <a:spcPts val="816"/>
              </a:spcAft>
              <a:defRPr/>
            </a:pPr>
            <a:r>
              <a:rPr lang="en-US" sz="952">
                <a:solidFill>
                  <a:srgbClr val="FFFFFF">
                    <a:lumMod val="85000"/>
                  </a:srgbClr>
                </a:solidFill>
                <a:latin typeface="Segoe UI"/>
              </a:rPr>
              <a:t>Type a message…</a:t>
            </a:r>
          </a:p>
        </p:txBody>
      </p:sp>
      <p:cxnSp>
        <p:nvCxnSpPr>
          <p:cNvPr id="1009" name="Straight Connector 1008"/>
          <p:cNvCxnSpPr/>
          <p:nvPr/>
        </p:nvCxnSpPr>
        <p:spPr>
          <a:xfrm>
            <a:off x="5508022" y="6309240"/>
            <a:ext cx="0" cy="144371"/>
          </a:xfrm>
          <a:prstGeom prst="line">
            <a:avLst/>
          </a:prstGeom>
          <a:ln w="95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10" name="Group 1009"/>
          <p:cNvGrpSpPr/>
          <p:nvPr/>
        </p:nvGrpSpPr>
        <p:grpSpPr bwMode="black">
          <a:xfrm flipH="1">
            <a:off x="5095344" y="6267594"/>
            <a:ext cx="224831" cy="177227"/>
            <a:chOff x="3358790" y="376388"/>
            <a:chExt cx="1516063" cy="1195388"/>
          </a:xfrm>
          <a:solidFill>
            <a:srgbClr val="1AAFEC"/>
          </a:solidFill>
        </p:grpSpPr>
        <p:sp>
          <p:nvSpPr>
            <p:cNvPr id="1011" name="Freeform 26"/>
            <p:cNvSpPr>
              <a:spLocks/>
            </p:cNvSpPr>
            <p:nvPr/>
          </p:nvSpPr>
          <p:spPr bwMode="black">
            <a:xfrm>
              <a:off x="3703278" y="376388"/>
              <a:ext cx="1171575" cy="1128713"/>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0" rIns="124342" bIns="621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007283">
                <a:defRPr/>
              </a:pPr>
              <a:endParaRPr lang="en-US" sz="2448" spc="-166">
                <a:solidFill>
                  <a:srgbClr val="505050">
                    <a:lumMod val="50000"/>
                  </a:srgbClr>
                </a:solidFill>
                <a:latin typeface="Segoe Light" pitchFamily="34" charset="0"/>
              </a:endParaRPr>
            </a:p>
          </p:txBody>
        </p:sp>
        <p:sp>
          <p:nvSpPr>
            <p:cNvPr id="1012" name="Freeform 27"/>
            <p:cNvSpPr>
              <a:spLocks noEditPoints="1"/>
            </p:cNvSpPr>
            <p:nvPr/>
          </p:nvSpPr>
          <p:spPr bwMode="black">
            <a:xfrm>
              <a:off x="3358790" y="789138"/>
              <a:ext cx="1106488" cy="782638"/>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0" rIns="124342" bIns="621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007283">
                <a:defRPr/>
              </a:pPr>
              <a:endParaRPr lang="en-US" sz="2448" spc="-166">
                <a:solidFill>
                  <a:srgbClr val="505050">
                    <a:lumMod val="50000"/>
                  </a:srgbClr>
                </a:solidFill>
                <a:latin typeface="Segoe Light" pitchFamily="34" charset="0"/>
              </a:endParaRPr>
            </a:p>
          </p:txBody>
        </p:sp>
        <p:sp>
          <p:nvSpPr>
            <p:cNvPr id="1013" name="Freeform 28"/>
            <p:cNvSpPr>
              <a:spLocks/>
            </p:cNvSpPr>
            <p:nvPr/>
          </p:nvSpPr>
          <p:spPr bwMode="black">
            <a:xfrm>
              <a:off x="3565165" y="1189188"/>
              <a:ext cx="401638" cy="338138"/>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0" rIns="124342" bIns="621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007283">
                <a:defRPr/>
              </a:pPr>
              <a:endParaRPr lang="en-US" sz="2448" spc="-166">
                <a:solidFill>
                  <a:srgbClr val="505050">
                    <a:lumMod val="50000"/>
                  </a:srgbClr>
                </a:solidFill>
                <a:latin typeface="Segoe Light" pitchFamily="34" charset="0"/>
              </a:endParaRPr>
            </a:p>
          </p:txBody>
        </p:sp>
        <p:sp>
          <p:nvSpPr>
            <p:cNvPr id="1014" name="Freeform 29"/>
            <p:cNvSpPr>
              <a:spLocks/>
            </p:cNvSpPr>
            <p:nvPr/>
          </p:nvSpPr>
          <p:spPr bwMode="black">
            <a:xfrm>
              <a:off x="3958865" y="1230463"/>
              <a:ext cx="225425" cy="244475"/>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0" rIns="124342" bIns="621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007283">
                <a:defRPr/>
              </a:pPr>
              <a:endParaRPr lang="en-US" sz="2448" spc="-166">
                <a:solidFill>
                  <a:srgbClr val="505050">
                    <a:lumMod val="50000"/>
                  </a:srgbClr>
                </a:solidFill>
                <a:latin typeface="Segoe Light" pitchFamily="34" charset="0"/>
              </a:endParaRPr>
            </a:p>
          </p:txBody>
        </p:sp>
        <p:sp>
          <p:nvSpPr>
            <p:cNvPr id="1015" name="Oval 1014"/>
            <p:cNvSpPr>
              <a:spLocks noChangeArrowheads="1"/>
            </p:cNvSpPr>
            <p:nvPr/>
          </p:nvSpPr>
          <p:spPr bwMode="black">
            <a:xfrm>
              <a:off x="3647715" y="930426"/>
              <a:ext cx="239713" cy="239713"/>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0" rIns="124342" bIns="621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007283">
                <a:defRPr/>
              </a:pPr>
              <a:endParaRPr lang="en-US" sz="2448" spc="-166">
                <a:solidFill>
                  <a:srgbClr val="505050">
                    <a:lumMod val="50000"/>
                  </a:srgbClr>
                </a:solidFill>
                <a:latin typeface="Segoe Light" pitchFamily="34" charset="0"/>
              </a:endParaRPr>
            </a:p>
          </p:txBody>
        </p:sp>
        <p:sp>
          <p:nvSpPr>
            <p:cNvPr id="1016" name="Oval 1015"/>
            <p:cNvSpPr>
              <a:spLocks noChangeArrowheads="1"/>
            </p:cNvSpPr>
            <p:nvPr/>
          </p:nvSpPr>
          <p:spPr bwMode="black">
            <a:xfrm>
              <a:off x="3933465" y="1020913"/>
              <a:ext cx="182563" cy="179388"/>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0" rIns="124342" bIns="6217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1007283">
                <a:defRPr/>
              </a:pPr>
              <a:endParaRPr lang="en-US" sz="2448" spc="-166">
                <a:solidFill>
                  <a:srgbClr val="505050">
                    <a:lumMod val="50000"/>
                  </a:srgbClr>
                </a:solidFill>
                <a:latin typeface="Segoe Light" pitchFamily="34" charset="0"/>
              </a:endParaRPr>
            </a:p>
          </p:txBody>
        </p:sp>
      </p:grpSp>
      <p:sp>
        <p:nvSpPr>
          <p:cNvPr id="1017" name="Freeform: Shape 136"/>
          <p:cNvSpPr/>
          <p:nvPr/>
        </p:nvSpPr>
        <p:spPr bwMode="auto">
          <a:xfrm rot="5400000">
            <a:off x="7183707" y="6251119"/>
            <a:ext cx="156103" cy="206609"/>
          </a:xfrm>
          <a:custGeom>
            <a:avLst/>
            <a:gdLst>
              <a:gd name="connsiteX0" fmla="*/ 233460 w 466920"/>
              <a:gd name="connsiteY0" fmla="*/ 0 h 617984"/>
              <a:gd name="connsiteX1" fmla="*/ 466920 w 466920"/>
              <a:gd name="connsiteY1" fmla="*/ 617984 h 617984"/>
              <a:gd name="connsiteX2" fmla="*/ 245738 w 466920"/>
              <a:gd name="connsiteY2" fmla="*/ 574436 h 617984"/>
              <a:gd name="connsiteX3" fmla="*/ 233460 w 466920"/>
              <a:gd name="connsiteY3" fmla="*/ 414337 h 617984"/>
              <a:gd name="connsiteX4" fmla="*/ 221182 w 466920"/>
              <a:gd name="connsiteY4" fmla="*/ 574436 h 617984"/>
              <a:gd name="connsiteX5" fmla="*/ 0 w 466920"/>
              <a:gd name="connsiteY5" fmla="*/ 617984 h 6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920" h="617984">
                <a:moveTo>
                  <a:pt x="233460" y="0"/>
                </a:moveTo>
                <a:lnTo>
                  <a:pt x="466920" y="617984"/>
                </a:lnTo>
                <a:lnTo>
                  <a:pt x="245738" y="574436"/>
                </a:lnTo>
                <a:lnTo>
                  <a:pt x="233460" y="414337"/>
                </a:lnTo>
                <a:lnTo>
                  <a:pt x="221182" y="574436"/>
                </a:lnTo>
                <a:lnTo>
                  <a:pt x="0" y="617984"/>
                </a:lnTo>
                <a:close/>
              </a:path>
            </a:pathLst>
          </a:custGeom>
          <a:solidFill>
            <a:srgbClr val="1AAF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kern="0">
              <a:solidFill>
                <a:srgbClr val="505050"/>
              </a:solidFill>
              <a:latin typeface="Segoe UI"/>
              <a:ea typeface="Segoe UI" pitchFamily="34" charset="0"/>
              <a:cs typeface="Segoe UI" pitchFamily="34" charset="0"/>
            </a:endParaRPr>
          </a:p>
        </p:txBody>
      </p:sp>
      <p:sp>
        <p:nvSpPr>
          <p:cNvPr id="1018" name="Freeform: Shape 869"/>
          <p:cNvSpPr>
            <a:spLocks/>
          </p:cNvSpPr>
          <p:nvPr/>
        </p:nvSpPr>
        <p:spPr bwMode="auto">
          <a:xfrm>
            <a:off x="-1649907" y="6254087"/>
            <a:ext cx="112190" cy="189161"/>
          </a:xfrm>
          <a:custGeom>
            <a:avLst/>
            <a:gdLst>
              <a:gd name="connsiteX0" fmla="*/ 34910 w 1198563"/>
              <a:gd name="connsiteY0" fmla="*/ 1185863 h 2020888"/>
              <a:gd name="connsiteX1" fmla="*/ 69819 w 1198563"/>
              <a:gd name="connsiteY1" fmla="*/ 1220555 h 2020888"/>
              <a:gd name="connsiteX2" fmla="*/ 599282 w 1198563"/>
              <a:gd name="connsiteY2" fmla="*/ 1746717 h 2020888"/>
              <a:gd name="connsiteX3" fmla="*/ 1128744 w 1198563"/>
              <a:gd name="connsiteY3" fmla="*/ 1220555 h 2020888"/>
              <a:gd name="connsiteX4" fmla="*/ 1163654 w 1198563"/>
              <a:gd name="connsiteY4" fmla="*/ 1185863 h 2020888"/>
              <a:gd name="connsiteX5" fmla="*/ 1198563 w 1198563"/>
              <a:gd name="connsiteY5" fmla="*/ 1220555 h 2020888"/>
              <a:gd name="connsiteX6" fmla="*/ 719692 w 1198563"/>
              <a:gd name="connsiteY6" fmla="*/ 1803950 h 2020888"/>
              <a:gd name="connsiteX7" fmla="*/ 696913 w 1198563"/>
              <a:gd name="connsiteY7" fmla="*/ 1806249 h 2020888"/>
              <a:gd name="connsiteX8" fmla="*/ 696913 w 1198563"/>
              <a:gd name="connsiteY8" fmla="*/ 1951038 h 2020888"/>
              <a:gd name="connsiteX9" fmla="*/ 726847 w 1198563"/>
              <a:gd name="connsiteY9" fmla="*/ 1951038 h 2020888"/>
              <a:gd name="connsiteX10" fmla="*/ 963652 w 1198563"/>
              <a:gd name="connsiteY10" fmla="*/ 1951038 h 2020888"/>
              <a:gd name="connsiteX11" fmla="*/ 998538 w 1198563"/>
              <a:gd name="connsiteY11" fmla="*/ 1985963 h 2020888"/>
              <a:gd name="connsiteX12" fmla="*/ 963652 w 1198563"/>
              <a:gd name="connsiteY12" fmla="*/ 2020888 h 2020888"/>
              <a:gd name="connsiteX13" fmla="*/ 234912 w 1198563"/>
              <a:gd name="connsiteY13" fmla="*/ 2020888 h 2020888"/>
              <a:gd name="connsiteX14" fmla="*/ 200025 w 1198563"/>
              <a:gd name="connsiteY14" fmla="*/ 1985963 h 2020888"/>
              <a:gd name="connsiteX15" fmla="*/ 234912 w 1198563"/>
              <a:gd name="connsiteY15" fmla="*/ 1951038 h 2020888"/>
              <a:gd name="connsiteX16" fmla="*/ 475453 w 1198563"/>
              <a:gd name="connsiteY16" fmla="*/ 1951038 h 2020888"/>
              <a:gd name="connsiteX17" fmla="*/ 503238 w 1198563"/>
              <a:gd name="connsiteY17" fmla="*/ 1951038 h 2020888"/>
              <a:gd name="connsiteX18" fmla="*/ 503238 w 1198563"/>
              <a:gd name="connsiteY18" fmla="*/ 1806454 h 2020888"/>
              <a:gd name="connsiteX19" fmla="*/ 478314 w 1198563"/>
              <a:gd name="connsiteY19" fmla="*/ 1803950 h 2020888"/>
              <a:gd name="connsiteX20" fmla="*/ 0 w 1198563"/>
              <a:gd name="connsiteY20" fmla="*/ 1220555 h 2020888"/>
              <a:gd name="connsiteX21" fmla="*/ 34910 w 1198563"/>
              <a:gd name="connsiteY21" fmla="*/ 1185863 h 2020888"/>
              <a:gd name="connsiteX22" fmla="*/ 600252 w 1198563"/>
              <a:gd name="connsiteY22" fmla="*/ 0 h 2020888"/>
              <a:gd name="connsiteX23" fmla="*/ 1054101 w 1198563"/>
              <a:gd name="connsiteY23" fmla="*/ 451412 h 2020888"/>
              <a:gd name="connsiteX24" fmla="*/ 1054101 w 1198563"/>
              <a:gd name="connsiteY24" fmla="*/ 1223058 h 2020888"/>
              <a:gd name="connsiteX25" fmla="*/ 600252 w 1198563"/>
              <a:gd name="connsiteY25" fmla="*/ 1676400 h 2020888"/>
              <a:gd name="connsiteX26" fmla="*/ 144463 w 1198563"/>
              <a:gd name="connsiteY26" fmla="*/ 1223058 h 2020888"/>
              <a:gd name="connsiteX27" fmla="*/ 144463 w 1198563"/>
              <a:gd name="connsiteY27" fmla="*/ 451412 h 2020888"/>
              <a:gd name="connsiteX28" fmla="*/ 600252 w 1198563"/>
              <a:gd name="connsiteY28" fmla="*/ 0 h 202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8563" h="2020888">
                <a:moveTo>
                  <a:pt x="34910" y="1185863"/>
                </a:moveTo>
                <a:cubicBezTo>
                  <a:pt x="54304" y="1185863"/>
                  <a:pt x="69819" y="1201282"/>
                  <a:pt x="69819" y="1220555"/>
                </a:cubicBezTo>
                <a:cubicBezTo>
                  <a:pt x="69819" y="1509655"/>
                  <a:pt x="306429" y="1746717"/>
                  <a:pt x="599282" y="1746717"/>
                </a:cubicBezTo>
                <a:cubicBezTo>
                  <a:pt x="890195" y="1746717"/>
                  <a:pt x="1128744" y="1509655"/>
                  <a:pt x="1128744" y="1220555"/>
                </a:cubicBezTo>
                <a:cubicBezTo>
                  <a:pt x="1128744" y="1201282"/>
                  <a:pt x="1144259" y="1185863"/>
                  <a:pt x="1163654" y="1185863"/>
                </a:cubicBezTo>
                <a:cubicBezTo>
                  <a:pt x="1183048" y="1185863"/>
                  <a:pt x="1198563" y="1201282"/>
                  <a:pt x="1198563" y="1220555"/>
                </a:cubicBezTo>
                <a:cubicBezTo>
                  <a:pt x="1198563" y="1507246"/>
                  <a:pt x="992166" y="1748193"/>
                  <a:pt x="719692" y="1803950"/>
                </a:cubicBezTo>
                <a:lnTo>
                  <a:pt x="696913" y="1806249"/>
                </a:lnTo>
                <a:lnTo>
                  <a:pt x="696913" y="1951038"/>
                </a:lnTo>
                <a:lnTo>
                  <a:pt x="726847" y="1951038"/>
                </a:lnTo>
                <a:cubicBezTo>
                  <a:pt x="963652" y="1951038"/>
                  <a:pt x="963652" y="1951038"/>
                  <a:pt x="963652" y="1951038"/>
                </a:cubicBezTo>
                <a:cubicBezTo>
                  <a:pt x="983033" y="1951038"/>
                  <a:pt x="998538" y="1966560"/>
                  <a:pt x="998538" y="1985963"/>
                </a:cubicBezTo>
                <a:cubicBezTo>
                  <a:pt x="998538" y="2005366"/>
                  <a:pt x="983033" y="2020888"/>
                  <a:pt x="963652" y="2020888"/>
                </a:cubicBezTo>
                <a:cubicBezTo>
                  <a:pt x="234912" y="2020888"/>
                  <a:pt x="234912" y="2020888"/>
                  <a:pt x="234912" y="2020888"/>
                </a:cubicBezTo>
                <a:cubicBezTo>
                  <a:pt x="215530" y="2020888"/>
                  <a:pt x="200025" y="2005366"/>
                  <a:pt x="200025" y="1985963"/>
                </a:cubicBezTo>
                <a:cubicBezTo>
                  <a:pt x="200025" y="1966560"/>
                  <a:pt x="215530" y="1951038"/>
                  <a:pt x="234912" y="1951038"/>
                </a:cubicBezTo>
                <a:cubicBezTo>
                  <a:pt x="326004" y="1951038"/>
                  <a:pt x="405710" y="1951038"/>
                  <a:pt x="475453" y="1951038"/>
                </a:cubicBezTo>
                <a:lnTo>
                  <a:pt x="503238" y="1951038"/>
                </a:lnTo>
                <a:lnTo>
                  <a:pt x="503238" y="1806454"/>
                </a:lnTo>
                <a:lnTo>
                  <a:pt x="478314" y="1803950"/>
                </a:lnTo>
                <a:cubicBezTo>
                  <a:pt x="204912" y="1748193"/>
                  <a:pt x="0" y="1507246"/>
                  <a:pt x="0" y="1220555"/>
                </a:cubicBezTo>
                <a:cubicBezTo>
                  <a:pt x="0" y="1201282"/>
                  <a:pt x="15516" y="1185863"/>
                  <a:pt x="34910" y="1185863"/>
                </a:cubicBezTo>
                <a:close/>
                <a:moveTo>
                  <a:pt x="600252" y="0"/>
                </a:moveTo>
                <a:cubicBezTo>
                  <a:pt x="850451" y="0"/>
                  <a:pt x="1054101" y="202557"/>
                  <a:pt x="1054101" y="451412"/>
                </a:cubicBezTo>
                <a:cubicBezTo>
                  <a:pt x="1054101" y="1223058"/>
                  <a:pt x="1054101" y="1223058"/>
                  <a:pt x="1054101" y="1223058"/>
                </a:cubicBezTo>
                <a:cubicBezTo>
                  <a:pt x="1054101" y="1473843"/>
                  <a:pt x="850451" y="1676400"/>
                  <a:pt x="600252" y="1676400"/>
                </a:cubicBezTo>
                <a:cubicBezTo>
                  <a:pt x="348113" y="1676400"/>
                  <a:pt x="144463" y="1473843"/>
                  <a:pt x="144463" y="1223058"/>
                </a:cubicBezTo>
                <a:cubicBezTo>
                  <a:pt x="144463" y="451412"/>
                  <a:pt x="144463" y="451412"/>
                  <a:pt x="144463" y="451412"/>
                </a:cubicBezTo>
                <a:cubicBezTo>
                  <a:pt x="144463" y="202557"/>
                  <a:pt x="348113" y="0"/>
                  <a:pt x="600252" y="0"/>
                </a:cubicBezTo>
                <a:close/>
              </a:path>
            </a:pathLst>
          </a:custGeom>
          <a:solidFill>
            <a:srgbClr val="1AAFEC"/>
          </a:solidFill>
          <a:ln>
            <a:noFill/>
          </a:ln>
        </p:spPr>
        <p:txBody>
          <a:bodyPr vert="horz" wrap="square" lIns="124347" tIns="62174" rIns="124347" bIns="62174" numCol="1" anchor="t" anchorCtr="0" compatLnSpc="1">
            <a:prstTxWarp prst="textNoShape">
              <a:avLst/>
            </a:prstTxWarp>
            <a:noAutofit/>
          </a:bodyPr>
          <a:lstStyle/>
          <a:p>
            <a:pPr defTabSz="1243431">
              <a:defRPr/>
            </a:pPr>
            <a:endParaRPr lang="en-US" sz="2448" kern="0">
              <a:solidFill>
                <a:sysClr val="windowText" lastClr="000000"/>
              </a:solidFill>
              <a:latin typeface="Segoe UI"/>
            </a:endParaRPr>
          </a:p>
        </p:txBody>
      </p:sp>
      <p:sp>
        <p:nvSpPr>
          <p:cNvPr id="1019" name="Rectangle 1018"/>
          <p:cNvSpPr/>
          <p:nvPr/>
        </p:nvSpPr>
        <p:spPr bwMode="auto">
          <a:xfrm>
            <a:off x="8184334" y="2232032"/>
            <a:ext cx="3289511" cy="854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ts val="612"/>
              </a:spcAft>
              <a:defRPr/>
            </a:pPr>
            <a:r>
              <a:rPr lang="en-US" sz="2040" b="1" kern="0">
                <a:solidFill>
                  <a:srgbClr val="0078D7"/>
                </a:solidFill>
                <a:latin typeface="Segoe UI"/>
                <a:ea typeface="Segoe UI" pitchFamily="34" charset="0"/>
                <a:cs typeface="Segoe UI" pitchFamily="34" charset="0"/>
              </a:rPr>
              <a:t>Interact in personal, natural ways</a:t>
            </a:r>
          </a:p>
          <a:p>
            <a:pPr algn="ctr" defTabSz="1268006" fontAlgn="base">
              <a:spcBef>
                <a:spcPct val="0"/>
              </a:spcBef>
              <a:spcAft>
                <a:spcPts val="612"/>
              </a:spcAft>
              <a:defRPr/>
            </a:pPr>
            <a:r>
              <a:rPr lang="en-US" sz="1632" kern="0">
                <a:solidFill>
                  <a:srgbClr val="FFFFFF">
                    <a:lumMod val="50000"/>
                  </a:srgbClr>
                </a:solidFill>
                <a:latin typeface="Segoe UI"/>
              </a:rPr>
              <a:t>Smart Recommendations, personalization, immersive experiences</a:t>
            </a:r>
          </a:p>
        </p:txBody>
      </p:sp>
      <p:sp>
        <p:nvSpPr>
          <p:cNvPr id="1020" name="Rectangle 1019"/>
          <p:cNvSpPr/>
          <p:nvPr/>
        </p:nvSpPr>
        <p:spPr bwMode="auto">
          <a:xfrm>
            <a:off x="8542103" y="3770233"/>
            <a:ext cx="2573973" cy="854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ts val="612"/>
              </a:spcAft>
              <a:defRPr/>
            </a:pPr>
            <a:r>
              <a:rPr lang="en-US" sz="2040" b="1" kern="0">
                <a:solidFill>
                  <a:srgbClr val="0078D7"/>
                </a:solidFill>
                <a:latin typeface="Segoe UI"/>
                <a:ea typeface="Segoe UI" pitchFamily="34" charset="0"/>
                <a:cs typeface="Segoe UI" pitchFamily="34" charset="0"/>
              </a:rPr>
              <a:t>Infuse processes with intelligence</a:t>
            </a:r>
          </a:p>
          <a:p>
            <a:pPr algn="ctr" defTabSz="1268006" fontAlgn="base">
              <a:spcBef>
                <a:spcPct val="0"/>
              </a:spcBef>
              <a:spcAft>
                <a:spcPts val="612"/>
              </a:spcAft>
              <a:defRPr/>
            </a:pPr>
            <a:r>
              <a:rPr lang="en-US" sz="1632" kern="0">
                <a:solidFill>
                  <a:srgbClr val="FFFFFF">
                    <a:lumMod val="50000"/>
                  </a:srgbClr>
                </a:solidFill>
                <a:latin typeface="Segoe UI"/>
              </a:rPr>
              <a:t>Dynamics CRM</a:t>
            </a:r>
          </a:p>
        </p:txBody>
      </p:sp>
      <p:sp>
        <p:nvSpPr>
          <p:cNvPr id="1021" name="Rectangle 1020"/>
          <p:cNvSpPr/>
          <p:nvPr/>
        </p:nvSpPr>
        <p:spPr bwMode="auto">
          <a:xfrm>
            <a:off x="7931756" y="5297593"/>
            <a:ext cx="3794670" cy="854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ts val="612"/>
              </a:spcAft>
              <a:defRPr/>
            </a:pPr>
            <a:r>
              <a:rPr lang="en-US" sz="2040" b="1" kern="0">
                <a:solidFill>
                  <a:srgbClr val="0078D7"/>
                </a:solidFill>
                <a:latin typeface="Segoe UI"/>
                <a:ea typeface="Segoe UI" pitchFamily="34" charset="0"/>
                <a:cs typeface="Segoe UI" pitchFamily="34" charset="0"/>
              </a:rPr>
              <a:t>Capitalize on hidden insights beyond your data</a:t>
            </a:r>
          </a:p>
          <a:p>
            <a:pPr algn="ctr" defTabSz="1268006" fontAlgn="base">
              <a:spcBef>
                <a:spcPct val="0"/>
              </a:spcBef>
              <a:spcAft>
                <a:spcPts val="612"/>
              </a:spcAft>
              <a:defRPr/>
            </a:pPr>
            <a:r>
              <a:rPr lang="en-US" sz="1632" kern="0">
                <a:solidFill>
                  <a:srgbClr val="FFFFFF">
                    <a:lumMod val="50000"/>
                  </a:srgbClr>
                </a:solidFill>
                <a:latin typeface="Segoe UI"/>
              </a:rPr>
              <a:t>Advanced Analytics, Machine Learning,</a:t>
            </a:r>
            <a:br>
              <a:rPr lang="en-US" sz="1632" kern="0">
                <a:solidFill>
                  <a:srgbClr val="FFFFFF">
                    <a:lumMod val="50000"/>
                  </a:srgbClr>
                </a:solidFill>
                <a:latin typeface="Segoe UI"/>
              </a:rPr>
            </a:br>
            <a:r>
              <a:rPr lang="en-US" sz="1632" kern="0">
                <a:solidFill>
                  <a:srgbClr val="FFFFFF">
                    <a:lumMod val="50000"/>
                  </a:srgbClr>
                </a:solidFill>
                <a:latin typeface="Segoe UI"/>
              </a:rPr>
              <a:t>Data Enrichment</a:t>
            </a:r>
          </a:p>
        </p:txBody>
      </p:sp>
      <p:sp>
        <p:nvSpPr>
          <p:cNvPr id="1022" name="Rectangle 1021"/>
          <p:cNvSpPr/>
          <p:nvPr/>
        </p:nvSpPr>
        <p:spPr bwMode="auto">
          <a:xfrm>
            <a:off x="4992038" y="1881775"/>
            <a:ext cx="2452401" cy="330473"/>
          </a:xfrm>
          <a:prstGeom prst="rect">
            <a:avLst/>
          </a:prstGeom>
          <a:solidFill>
            <a:srgbClr val="4ABF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23" name="Rectangle 1022"/>
          <p:cNvSpPr/>
          <p:nvPr/>
        </p:nvSpPr>
        <p:spPr bwMode="auto">
          <a:xfrm>
            <a:off x="4992038" y="1659287"/>
            <a:ext cx="2452401" cy="235616"/>
          </a:xfrm>
          <a:prstGeom prst="rect">
            <a:avLst/>
          </a:prstGeom>
          <a:solidFill>
            <a:srgbClr val="12A7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24" name="TextBox 1023"/>
          <p:cNvSpPr txBox="1"/>
          <p:nvPr/>
        </p:nvSpPr>
        <p:spPr>
          <a:xfrm>
            <a:off x="5628263" y="1731655"/>
            <a:ext cx="1178774" cy="153682"/>
          </a:xfrm>
          <a:prstGeom prst="rect">
            <a:avLst/>
          </a:prstGeom>
          <a:noFill/>
        </p:spPr>
        <p:txBody>
          <a:bodyPr wrap="none" lIns="0" tIns="0" rIns="0" bIns="0" rtlCol="0">
            <a:spAutoFit/>
          </a:bodyPr>
          <a:lstStyle/>
          <a:p>
            <a:pPr defTabSz="1243431">
              <a:lnSpc>
                <a:spcPct val="90000"/>
              </a:lnSpc>
              <a:spcAft>
                <a:spcPts val="816"/>
              </a:spcAft>
              <a:defRPr/>
            </a:pPr>
            <a:r>
              <a:rPr lang="en-US" sz="1088" b="1" err="1">
                <a:solidFill>
                  <a:srgbClr val="FFFFFF"/>
                </a:solidFill>
                <a:latin typeface="Segoe UI"/>
              </a:rPr>
              <a:t>Litware</a:t>
            </a:r>
            <a:r>
              <a:rPr lang="en-US" sz="1088" b="1">
                <a:solidFill>
                  <a:srgbClr val="FFFFFF"/>
                </a:solidFill>
                <a:latin typeface="Segoe UI"/>
              </a:rPr>
              <a:t> Insurance</a:t>
            </a:r>
          </a:p>
        </p:txBody>
      </p:sp>
      <p:sp>
        <p:nvSpPr>
          <p:cNvPr id="1025" name="Freeform: Shape 865"/>
          <p:cNvSpPr>
            <a:spLocks/>
          </p:cNvSpPr>
          <p:nvPr/>
        </p:nvSpPr>
        <p:spPr bwMode="auto">
          <a:xfrm>
            <a:off x="6087636" y="1950736"/>
            <a:ext cx="261202" cy="212703"/>
          </a:xfrm>
          <a:custGeom>
            <a:avLst/>
            <a:gdLst>
              <a:gd name="connsiteX0" fmla="*/ 701676 w 1196976"/>
              <a:gd name="connsiteY0" fmla="*/ 582613 h 974725"/>
              <a:gd name="connsiteX1" fmla="*/ 701676 w 1196976"/>
              <a:gd name="connsiteY1" fmla="*/ 622012 h 974725"/>
              <a:gd name="connsiteX2" fmla="*/ 703615 w 1196976"/>
              <a:gd name="connsiteY2" fmla="*/ 623888 h 974725"/>
              <a:gd name="connsiteX3" fmla="*/ 885826 w 1196976"/>
              <a:gd name="connsiteY3" fmla="*/ 623888 h 974725"/>
              <a:gd name="connsiteX4" fmla="*/ 885826 w 1196976"/>
              <a:gd name="connsiteY4" fmla="*/ 622012 h 974725"/>
              <a:gd name="connsiteX5" fmla="*/ 885826 w 1196976"/>
              <a:gd name="connsiteY5" fmla="*/ 582613 h 974725"/>
              <a:gd name="connsiteX6" fmla="*/ 703615 w 1196976"/>
              <a:gd name="connsiteY6" fmla="*/ 582613 h 974725"/>
              <a:gd name="connsiteX7" fmla="*/ 701676 w 1196976"/>
              <a:gd name="connsiteY7" fmla="*/ 582613 h 974725"/>
              <a:gd name="connsiteX8" fmla="*/ 385969 w 1196976"/>
              <a:gd name="connsiteY8" fmla="*/ 427491 h 974725"/>
              <a:gd name="connsiteX9" fmla="*/ 408077 w 1196976"/>
              <a:gd name="connsiteY9" fmla="*/ 433537 h 974725"/>
              <a:gd name="connsiteX10" fmla="*/ 410020 w 1196976"/>
              <a:gd name="connsiteY10" fmla="*/ 435472 h 974725"/>
              <a:gd name="connsiteX11" fmla="*/ 719049 w 1196976"/>
              <a:gd name="connsiteY11" fmla="*/ 435472 h 974725"/>
              <a:gd name="connsiteX12" fmla="*/ 761807 w 1196976"/>
              <a:gd name="connsiteY12" fmla="*/ 439341 h 974725"/>
              <a:gd name="connsiteX13" fmla="*/ 757920 w 1196976"/>
              <a:gd name="connsiteY13" fmla="*/ 479971 h 974725"/>
              <a:gd name="connsiteX14" fmla="*/ 565506 w 1196976"/>
              <a:gd name="connsiteY14" fmla="*/ 547688 h 974725"/>
              <a:gd name="connsiteX15" fmla="*/ 371149 w 1196976"/>
              <a:gd name="connsiteY15" fmla="*/ 479971 h 974725"/>
              <a:gd name="connsiteX16" fmla="*/ 369205 w 1196976"/>
              <a:gd name="connsiteY16" fmla="*/ 478037 h 974725"/>
              <a:gd name="connsiteX17" fmla="*/ 365318 w 1196976"/>
              <a:gd name="connsiteY17" fmla="*/ 437406 h 974725"/>
              <a:gd name="connsiteX18" fmla="*/ 385969 w 1196976"/>
              <a:gd name="connsiteY18" fmla="*/ 427491 h 974725"/>
              <a:gd name="connsiteX19" fmla="*/ 1052514 w 1196976"/>
              <a:gd name="connsiteY19" fmla="*/ 209550 h 974725"/>
              <a:gd name="connsiteX20" fmla="*/ 1052514 w 1196976"/>
              <a:gd name="connsiteY20" fmla="*/ 393353 h 974725"/>
              <a:gd name="connsiteX21" fmla="*/ 1052514 w 1196976"/>
              <a:gd name="connsiteY21" fmla="*/ 395288 h 974725"/>
              <a:gd name="connsiteX22" fmla="*/ 1138239 w 1196976"/>
              <a:gd name="connsiteY22" fmla="*/ 395288 h 974725"/>
              <a:gd name="connsiteX23" fmla="*/ 1138239 w 1196976"/>
              <a:gd name="connsiteY23" fmla="*/ 393353 h 974725"/>
              <a:gd name="connsiteX24" fmla="*/ 1138239 w 1196976"/>
              <a:gd name="connsiteY24" fmla="*/ 209550 h 974725"/>
              <a:gd name="connsiteX25" fmla="*/ 786607 w 1196976"/>
              <a:gd name="connsiteY25" fmla="*/ 177800 h 974725"/>
              <a:gd name="connsiteX26" fmla="*/ 889196 w 1196976"/>
              <a:gd name="connsiteY26" fmla="*/ 253471 h 974725"/>
              <a:gd name="connsiteX27" fmla="*/ 891131 w 1196976"/>
              <a:gd name="connsiteY27" fmla="*/ 255412 h 974725"/>
              <a:gd name="connsiteX28" fmla="*/ 877582 w 1196976"/>
              <a:gd name="connsiteY28" fmla="*/ 296158 h 974725"/>
              <a:gd name="connsiteX29" fmla="*/ 864032 w 1196976"/>
              <a:gd name="connsiteY29" fmla="*/ 298098 h 974725"/>
              <a:gd name="connsiteX30" fmla="*/ 838869 w 1196976"/>
              <a:gd name="connsiteY30" fmla="*/ 282576 h 974725"/>
              <a:gd name="connsiteX31" fmla="*/ 836933 w 1196976"/>
              <a:gd name="connsiteY31" fmla="*/ 280635 h 974725"/>
              <a:gd name="connsiteX32" fmla="*/ 786607 w 1196976"/>
              <a:gd name="connsiteY32" fmla="*/ 236009 h 974725"/>
              <a:gd name="connsiteX33" fmla="*/ 736280 w 1196976"/>
              <a:gd name="connsiteY33" fmla="*/ 280635 h 974725"/>
              <a:gd name="connsiteX34" fmla="*/ 695632 w 1196976"/>
              <a:gd name="connsiteY34" fmla="*/ 294217 h 974725"/>
              <a:gd name="connsiteX35" fmla="*/ 684018 w 1196976"/>
              <a:gd name="connsiteY35" fmla="*/ 253471 h 974725"/>
              <a:gd name="connsiteX36" fmla="*/ 786607 w 1196976"/>
              <a:gd name="connsiteY36" fmla="*/ 177800 h 974725"/>
              <a:gd name="connsiteX37" fmla="*/ 340520 w 1196976"/>
              <a:gd name="connsiteY37" fmla="*/ 177800 h 974725"/>
              <a:gd name="connsiteX38" fmla="*/ 443109 w 1196976"/>
              <a:gd name="connsiteY38" fmla="*/ 253471 h 974725"/>
              <a:gd name="connsiteX39" fmla="*/ 443109 w 1196976"/>
              <a:gd name="connsiteY39" fmla="*/ 255412 h 974725"/>
              <a:gd name="connsiteX40" fmla="*/ 431495 w 1196976"/>
              <a:gd name="connsiteY40" fmla="*/ 296158 h 974725"/>
              <a:gd name="connsiteX41" fmla="*/ 417945 w 1196976"/>
              <a:gd name="connsiteY41" fmla="*/ 298098 h 974725"/>
              <a:gd name="connsiteX42" fmla="*/ 390846 w 1196976"/>
              <a:gd name="connsiteY42" fmla="*/ 282576 h 974725"/>
              <a:gd name="connsiteX43" fmla="*/ 390846 w 1196976"/>
              <a:gd name="connsiteY43" fmla="*/ 280635 h 974725"/>
              <a:gd name="connsiteX44" fmla="*/ 340520 w 1196976"/>
              <a:gd name="connsiteY44" fmla="*/ 236009 h 974725"/>
              <a:gd name="connsiteX45" fmla="*/ 288257 w 1196976"/>
              <a:gd name="connsiteY45" fmla="*/ 280635 h 974725"/>
              <a:gd name="connsiteX46" fmla="*/ 249545 w 1196976"/>
              <a:gd name="connsiteY46" fmla="*/ 294217 h 974725"/>
              <a:gd name="connsiteX47" fmla="*/ 235995 w 1196976"/>
              <a:gd name="connsiteY47" fmla="*/ 253471 h 974725"/>
              <a:gd name="connsiteX48" fmla="*/ 340520 w 1196976"/>
              <a:gd name="connsiteY48" fmla="*/ 177800 h 974725"/>
              <a:gd name="connsiteX49" fmla="*/ 118543 w 1196976"/>
              <a:gd name="connsiteY49" fmla="*/ 58019 h 974725"/>
              <a:gd name="connsiteX50" fmla="*/ 58300 w 1196976"/>
              <a:gd name="connsiteY50" fmla="*/ 117973 h 974725"/>
              <a:gd name="connsiteX51" fmla="*/ 58300 w 1196976"/>
              <a:gd name="connsiteY51" fmla="*/ 636279 h 974725"/>
              <a:gd name="connsiteX52" fmla="*/ 118543 w 1196976"/>
              <a:gd name="connsiteY52" fmla="*/ 696232 h 974725"/>
              <a:gd name="connsiteX53" fmla="*/ 149636 w 1196976"/>
              <a:gd name="connsiteY53" fmla="*/ 696232 h 974725"/>
              <a:gd name="connsiteX54" fmla="*/ 174899 w 1196976"/>
              <a:gd name="connsiteY54" fmla="*/ 707836 h 974725"/>
              <a:gd name="connsiteX55" fmla="*/ 178785 w 1196976"/>
              <a:gd name="connsiteY55" fmla="*/ 734912 h 974725"/>
              <a:gd name="connsiteX56" fmla="*/ 126316 w 1196976"/>
              <a:gd name="connsiteY56" fmla="*/ 874158 h 974725"/>
              <a:gd name="connsiteX57" fmla="*/ 390607 w 1196976"/>
              <a:gd name="connsiteY57" fmla="*/ 700100 h 974725"/>
              <a:gd name="connsiteX58" fmla="*/ 406154 w 1196976"/>
              <a:gd name="connsiteY58" fmla="*/ 696232 h 974725"/>
              <a:gd name="connsiteX59" fmla="*/ 1008583 w 1196976"/>
              <a:gd name="connsiteY59" fmla="*/ 696232 h 974725"/>
              <a:gd name="connsiteX60" fmla="*/ 1068826 w 1196976"/>
              <a:gd name="connsiteY60" fmla="*/ 636279 h 974725"/>
              <a:gd name="connsiteX61" fmla="*/ 1068826 w 1196976"/>
              <a:gd name="connsiteY61" fmla="*/ 567336 h 974725"/>
              <a:gd name="connsiteX62" fmla="*/ 1068826 w 1196976"/>
              <a:gd name="connsiteY62" fmla="*/ 556942 h 974725"/>
              <a:gd name="connsiteX63" fmla="*/ 1012708 w 1196976"/>
              <a:gd name="connsiteY63" fmla="*/ 605759 h 974725"/>
              <a:gd name="connsiteX64" fmla="*/ 969247 w 1196976"/>
              <a:gd name="connsiteY64" fmla="*/ 623493 h 974725"/>
              <a:gd name="connsiteX65" fmla="*/ 943608 w 1196976"/>
              <a:gd name="connsiteY65" fmla="*/ 627579 h 974725"/>
              <a:gd name="connsiteX66" fmla="*/ 940094 w 1196976"/>
              <a:gd name="connsiteY66" fmla="*/ 645872 h 974725"/>
              <a:gd name="connsiteX67" fmla="*/ 886184 w 1196976"/>
              <a:gd name="connsiteY67" fmla="*/ 682625 h 974725"/>
              <a:gd name="connsiteX68" fmla="*/ 703263 w 1196976"/>
              <a:gd name="connsiteY68" fmla="*/ 682625 h 974725"/>
              <a:gd name="connsiteX69" fmla="*/ 642938 w 1196976"/>
              <a:gd name="connsiteY69" fmla="*/ 622610 h 974725"/>
              <a:gd name="connsiteX70" fmla="*/ 642938 w 1196976"/>
              <a:gd name="connsiteY70" fmla="*/ 581954 h 974725"/>
              <a:gd name="connsiteX71" fmla="*/ 703263 w 1196976"/>
              <a:gd name="connsiteY71" fmla="*/ 523875 h 974725"/>
              <a:gd name="connsiteX72" fmla="*/ 886184 w 1196976"/>
              <a:gd name="connsiteY72" fmla="*/ 523875 h 974725"/>
              <a:gd name="connsiteX73" fmla="*/ 940094 w 1196976"/>
              <a:gd name="connsiteY73" fmla="*/ 559812 h 974725"/>
              <a:gd name="connsiteX74" fmla="*/ 941961 w 1196976"/>
              <a:gd name="connsiteY74" fmla="*/ 569064 h 974725"/>
              <a:gd name="connsiteX75" fmla="*/ 960646 w 1196976"/>
              <a:gd name="connsiteY75" fmla="*/ 565759 h 974725"/>
              <a:gd name="connsiteX76" fmla="*/ 1041989 w 1196976"/>
              <a:gd name="connsiteY76" fmla="*/ 496504 h 974725"/>
              <a:gd name="connsiteX77" fmla="*/ 1059306 w 1196976"/>
              <a:gd name="connsiteY77" fmla="*/ 452438 h 974725"/>
              <a:gd name="connsiteX78" fmla="*/ 1054854 w 1196976"/>
              <a:gd name="connsiteY78" fmla="*/ 452438 h 974725"/>
              <a:gd name="connsiteX79" fmla="*/ 1053521 w 1196976"/>
              <a:gd name="connsiteY79" fmla="*/ 452438 h 974725"/>
              <a:gd name="connsiteX80" fmla="*/ 995363 w 1196976"/>
              <a:gd name="connsiteY80" fmla="*/ 392500 h 974725"/>
              <a:gd name="connsiteX81" fmla="*/ 995363 w 1196976"/>
              <a:gd name="connsiteY81" fmla="*/ 208818 h 974725"/>
              <a:gd name="connsiteX82" fmla="*/ 1053521 w 1196976"/>
              <a:gd name="connsiteY82" fmla="*/ 150813 h 974725"/>
              <a:gd name="connsiteX83" fmla="*/ 1068826 w 1196976"/>
              <a:gd name="connsiteY83" fmla="*/ 150813 h 974725"/>
              <a:gd name="connsiteX84" fmla="*/ 1068826 w 1196976"/>
              <a:gd name="connsiteY84" fmla="*/ 142450 h 974725"/>
              <a:gd name="connsiteX85" fmla="*/ 1068826 w 1196976"/>
              <a:gd name="connsiteY85" fmla="*/ 117973 h 974725"/>
              <a:gd name="connsiteX86" fmla="*/ 1008583 w 1196976"/>
              <a:gd name="connsiteY86" fmla="*/ 58019 h 974725"/>
              <a:gd name="connsiteX87" fmla="*/ 118543 w 1196976"/>
              <a:gd name="connsiteY87" fmla="*/ 58019 h 974725"/>
              <a:gd name="connsiteX88" fmla="*/ 118543 w 1196976"/>
              <a:gd name="connsiteY88" fmla="*/ 0 h 974725"/>
              <a:gd name="connsiteX89" fmla="*/ 1008583 w 1196976"/>
              <a:gd name="connsiteY89" fmla="*/ 0 h 974725"/>
              <a:gd name="connsiteX90" fmla="*/ 1127125 w 1196976"/>
              <a:gd name="connsiteY90" fmla="*/ 117973 h 974725"/>
              <a:gd name="connsiteX91" fmla="*/ 1127125 w 1196976"/>
              <a:gd name="connsiteY91" fmla="*/ 150813 h 974725"/>
              <a:gd name="connsiteX92" fmla="*/ 1128156 w 1196976"/>
              <a:gd name="connsiteY92" fmla="*/ 150813 h 974725"/>
              <a:gd name="connsiteX93" fmla="*/ 1138819 w 1196976"/>
              <a:gd name="connsiteY93" fmla="*/ 150813 h 974725"/>
              <a:gd name="connsiteX94" fmla="*/ 1196976 w 1196976"/>
              <a:gd name="connsiteY94" fmla="*/ 208818 h 974725"/>
              <a:gd name="connsiteX95" fmla="*/ 1196976 w 1196976"/>
              <a:gd name="connsiteY95" fmla="*/ 392500 h 974725"/>
              <a:gd name="connsiteX96" fmla="*/ 1138819 w 1196976"/>
              <a:gd name="connsiteY96" fmla="*/ 452438 h 974725"/>
              <a:gd name="connsiteX97" fmla="*/ 1127125 w 1196976"/>
              <a:gd name="connsiteY97" fmla="*/ 452438 h 974725"/>
              <a:gd name="connsiteX98" fmla="*/ 1127125 w 1196976"/>
              <a:gd name="connsiteY98" fmla="*/ 496353 h 974725"/>
              <a:gd name="connsiteX99" fmla="*/ 1127125 w 1196976"/>
              <a:gd name="connsiteY99" fmla="*/ 636279 h 974725"/>
              <a:gd name="connsiteX100" fmla="*/ 1008583 w 1196976"/>
              <a:gd name="connsiteY100" fmla="*/ 754252 h 974725"/>
              <a:gd name="connsiteX101" fmla="*/ 415870 w 1196976"/>
              <a:gd name="connsiteY101" fmla="*/ 754252 h 974725"/>
              <a:gd name="connsiteX102" fmla="*/ 85506 w 1196976"/>
              <a:gd name="connsiteY102" fmla="*/ 970857 h 974725"/>
              <a:gd name="connsiteX103" fmla="*/ 68016 w 1196976"/>
              <a:gd name="connsiteY103" fmla="*/ 974725 h 974725"/>
              <a:gd name="connsiteX104" fmla="*/ 50526 w 1196976"/>
              <a:gd name="connsiteY104" fmla="*/ 968923 h 974725"/>
              <a:gd name="connsiteX105" fmla="*/ 40810 w 1196976"/>
              <a:gd name="connsiteY105" fmla="*/ 936046 h 974725"/>
              <a:gd name="connsiteX106" fmla="*/ 108826 w 1196976"/>
              <a:gd name="connsiteY106" fmla="*/ 754252 h 974725"/>
              <a:gd name="connsiteX107" fmla="*/ 0 w 1196976"/>
              <a:gd name="connsiteY107" fmla="*/ 636279 h 974725"/>
              <a:gd name="connsiteX108" fmla="*/ 0 w 1196976"/>
              <a:gd name="connsiteY108" fmla="*/ 117973 h 974725"/>
              <a:gd name="connsiteX109" fmla="*/ 118543 w 1196976"/>
              <a:gd name="connsiteY109" fmla="*/ 0 h 97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96976" h="974725">
                <a:moveTo>
                  <a:pt x="701676" y="582613"/>
                </a:moveTo>
                <a:cubicBezTo>
                  <a:pt x="701676" y="622012"/>
                  <a:pt x="701676" y="622012"/>
                  <a:pt x="701676" y="622012"/>
                </a:cubicBezTo>
                <a:cubicBezTo>
                  <a:pt x="701676" y="623888"/>
                  <a:pt x="703615" y="623888"/>
                  <a:pt x="703615" y="623888"/>
                </a:cubicBezTo>
                <a:cubicBezTo>
                  <a:pt x="885826" y="623888"/>
                  <a:pt x="885826" y="623888"/>
                  <a:pt x="885826" y="623888"/>
                </a:cubicBezTo>
                <a:cubicBezTo>
                  <a:pt x="885826" y="623888"/>
                  <a:pt x="885826" y="623888"/>
                  <a:pt x="885826" y="622012"/>
                </a:cubicBezTo>
                <a:cubicBezTo>
                  <a:pt x="885826" y="582613"/>
                  <a:pt x="885826" y="582613"/>
                  <a:pt x="885826" y="582613"/>
                </a:cubicBezTo>
                <a:lnTo>
                  <a:pt x="703615" y="582613"/>
                </a:lnTo>
                <a:cubicBezTo>
                  <a:pt x="703615" y="582613"/>
                  <a:pt x="701676" y="582613"/>
                  <a:pt x="701676" y="582613"/>
                </a:cubicBezTo>
                <a:close/>
                <a:moveTo>
                  <a:pt x="385969" y="427491"/>
                </a:moveTo>
                <a:cubicBezTo>
                  <a:pt x="393500" y="426765"/>
                  <a:pt x="401274" y="428700"/>
                  <a:pt x="408077" y="433537"/>
                </a:cubicBezTo>
                <a:cubicBezTo>
                  <a:pt x="410020" y="435472"/>
                  <a:pt x="410020" y="435472"/>
                  <a:pt x="410020" y="435472"/>
                </a:cubicBezTo>
                <a:cubicBezTo>
                  <a:pt x="495538" y="508993"/>
                  <a:pt x="633531" y="508993"/>
                  <a:pt x="719049" y="435472"/>
                </a:cubicBezTo>
                <a:cubicBezTo>
                  <a:pt x="732654" y="425798"/>
                  <a:pt x="750146" y="427733"/>
                  <a:pt x="761807" y="439341"/>
                </a:cubicBezTo>
                <a:cubicBezTo>
                  <a:pt x="771525" y="450950"/>
                  <a:pt x="769582" y="470298"/>
                  <a:pt x="757920" y="479971"/>
                </a:cubicBezTo>
                <a:cubicBezTo>
                  <a:pt x="705444" y="524471"/>
                  <a:pt x="635475" y="547688"/>
                  <a:pt x="565506" y="547688"/>
                </a:cubicBezTo>
                <a:cubicBezTo>
                  <a:pt x="495538" y="547688"/>
                  <a:pt x="425569" y="524471"/>
                  <a:pt x="371149" y="479971"/>
                </a:cubicBezTo>
                <a:cubicBezTo>
                  <a:pt x="369205" y="478037"/>
                  <a:pt x="369205" y="478037"/>
                  <a:pt x="369205" y="478037"/>
                </a:cubicBezTo>
                <a:cubicBezTo>
                  <a:pt x="357544" y="468363"/>
                  <a:pt x="355600" y="449015"/>
                  <a:pt x="365318" y="437406"/>
                </a:cubicBezTo>
                <a:cubicBezTo>
                  <a:pt x="371149" y="431602"/>
                  <a:pt x="378437" y="428216"/>
                  <a:pt x="385969" y="427491"/>
                </a:cubicBezTo>
                <a:close/>
                <a:moveTo>
                  <a:pt x="1052514" y="209550"/>
                </a:moveTo>
                <a:cubicBezTo>
                  <a:pt x="1052514" y="393353"/>
                  <a:pt x="1052514" y="393353"/>
                  <a:pt x="1052514" y="393353"/>
                </a:cubicBezTo>
                <a:cubicBezTo>
                  <a:pt x="1052514" y="395288"/>
                  <a:pt x="1052514" y="395288"/>
                  <a:pt x="1052514" y="395288"/>
                </a:cubicBezTo>
                <a:cubicBezTo>
                  <a:pt x="1138239" y="395288"/>
                  <a:pt x="1138239" y="395288"/>
                  <a:pt x="1138239" y="395288"/>
                </a:cubicBezTo>
                <a:cubicBezTo>
                  <a:pt x="1138239" y="395288"/>
                  <a:pt x="1138239" y="395288"/>
                  <a:pt x="1138239" y="393353"/>
                </a:cubicBezTo>
                <a:cubicBezTo>
                  <a:pt x="1138239" y="209550"/>
                  <a:pt x="1138239" y="209550"/>
                  <a:pt x="1138239" y="209550"/>
                </a:cubicBezTo>
                <a:close/>
                <a:moveTo>
                  <a:pt x="786607" y="177800"/>
                </a:moveTo>
                <a:cubicBezTo>
                  <a:pt x="827255" y="177800"/>
                  <a:pt x="864032" y="204964"/>
                  <a:pt x="889196" y="253471"/>
                </a:cubicBezTo>
                <a:cubicBezTo>
                  <a:pt x="891131" y="255412"/>
                  <a:pt x="891131" y="255412"/>
                  <a:pt x="891131" y="255412"/>
                </a:cubicBezTo>
                <a:cubicBezTo>
                  <a:pt x="896938" y="270934"/>
                  <a:pt x="893067" y="288396"/>
                  <a:pt x="877582" y="296158"/>
                </a:cubicBezTo>
                <a:cubicBezTo>
                  <a:pt x="873711" y="298098"/>
                  <a:pt x="869839" y="298098"/>
                  <a:pt x="864032" y="298098"/>
                </a:cubicBezTo>
                <a:cubicBezTo>
                  <a:pt x="854354" y="298098"/>
                  <a:pt x="844676" y="292277"/>
                  <a:pt x="838869" y="282576"/>
                </a:cubicBezTo>
                <a:cubicBezTo>
                  <a:pt x="836933" y="280635"/>
                  <a:pt x="836933" y="280635"/>
                  <a:pt x="836933" y="280635"/>
                </a:cubicBezTo>
                <a:cubicBezTo>
                  <a:pt x="823384" y="251531"/>
                  <a:pt x="804028" y="236009"/>
                  <a:pt x="786607" y="236009"/>
                </a:cubicBezTo>
                <a:cubicBezTo>
                  <a:pt x="769186" y="236009"/>
                  <a:pt x="749830" y="251531"/>
                  <a:pt x="736280" y="280635"/>
                </a:cubicBezTo>
                <a:cubicBezTo>
                  <a:pt x="728538" y="296158"/>
                  <a:pt x="711117" y="300038"/>
                  <a:pt x="695632" y="294217"/>
                </a:cubicBezTo>
                <a:cubicBezTo>
                  <a:pt x="682082" y="286456"/>
                  <a:pt x="676275" y="268994"/>
                  <a:pt x="684018" y="253471"/>
                </a:cubicBezTo>
                <a:cubicBezTo>
                  <a:pt x="709181" y="204964"/>
                  <a:pt x="745958" y="177800"/>
                  <a:pt x="786607" y="177800"/>
                </a:cubicBezTo>
                <a:close/>
                <a:moveTo>
                  <a:pt x="340520" y="177800"/>
                </a:moveTo>
                <a:cubicBezTo>
                  <a:pt x="379233" y="177800"/>
                  <a:pt x="416010" y="204964"/>
                  <a:pt x="443109" y="253471"/>
                </a:cubicBezTo>
                <a:cubicBezTo>
                  <a:pt x="443109" y="255412"/>
                  <a:pt x="443109" y="255412"/>
                  <a:pt x="443109" y="255412"/>
                </a:cubicBezTo>
                <a:cubicBezTo>
                  <a:pt x="450851" y="270934"/>
                  <a:pt x="445044" y="288396"/>
                  <a:pt x="431495" y="296158"/>
                </a:cubicBezTo>
                <a:cubicBezTo>
                  <a:pt x="425688" y="298098"/>
                  <a:pt x="421817" y="298098"/>
                  <a:pt x="417945" y="298098"/>
                </a:cubicBezTo>
                <a:cubicBezTo>
                  <a:pt x="406332" y="298098"/>
                  <a:pt x="396653" y="292277"/>
                  <a:pt x="390846" y="282576"/>
                </a:cubicBezTo>
                <a:cubicBezTo>
                  <a:pt x="390846" y="280635"/>
                  <a:pt x="390846" y="280635"/>
                  <a:pt x="390846" y="280635"/>
                </a:cubicBezTo>
                <a:cubicBezTo>
                  <a:pt x="375361" y="251531"/>
                  <a:pt x="357941" y="236009"/>
                  <a:pt x="340520" y="236009"/>
                </a:cubicBezTo>
                <a:cubicBezTo>
                  <a:pt x="321163" y="236009"/>
                  <a:pt x="303743" y="251531"/>
                  <a:pt x="288257" y="280635"/>
                </a:cubicBezTo>
                <a:cubicBezTo>
                  <a:pt x="280515" y="296158"/>
                  <a:pt x="263094" y="300038"/>
                  <a:pt x="249545" y="294217"/>
                </a:cubicBezTo>
                <a:cubicBezTo>
                  <a:pt x="234060" y="286456"/>
                  <a:pt x="230188" y="268994"/>
                  <a:pt x="235995" y="253471"/>
                </a:cubicBezTo>
                <a:cubicBezTo>
                  <a:pt x="263094" y="204964"/>
                  <a:pt x="299871" y="177800"/>
                  <a:pt x="340520" y="177800"/>
                </a:cubicBezTo>
                <a:close/>
                <a:moveTo>
                  <a:pt x="118543" y="58019"/>
                </a:moveTo>
                <a:cubicBezTo>
                  <a:pt x="85506" y="58019"/>
                  <a:pt x="58300" y="85095"/>
                  <a:pt x="58300" y="117973"/>
                </a:cubicBezTo>
                <a:cubicBezTo>
                  <a:pt x="58300" y="636279"/>
                  <a:pt x="58300" y="636279"/>
                  <a:pt x="58300" y="636279"/>
                </a:cubicBezTo>
                <a:cubicBezTo>
                  <a:pt x="58300" y="669157"/>
                  <a:pt x="85506" y="696232"/>
                  <a:pt x="118543" y="696232"/>
                </a:cubicBezTo>
                <a:cubicBezTo>
                  <a:pt x="149636" y="696232"/>
                  <a:pt x="149636" y="696232"/>
                  <a:pt x="149636" y="696232"/>
                </a:cubicBezTo>
                <a:cubicBezTo>
                  <a:pt x="159352" y="696232"/>
                  <a:pt x="169069" y="700100"/>
                  <a:pt x="174899" y="707836"/>
                </a:cubicBezTo>
                <a:cubicBezTo>
                  <a:pt x="180729" y="715572"/>
                  <a:pt x="180729" y="727176"/>
                  <a:pt x="178785" y="734912"/>
                </a:cubicBezTo>
                <a:cubicBezTo>
                  <a:pt x="126316" y="874158"/>
                  <a:pt x="126316" y="874158"/>
                  <a:pt x="126316" y="874158"/>
                </a:cubicBezTo>
                <a:cubicBezTo>
                  <a:pt x="390607" y="700100"/>
                  <a:pt x="390607" y="700100"/>
                  <a:pt x="390607" y="700100"/>
                </a:cubicBezTo>
                <a:cubicBezTo>
                  <a:pt x="396437" y="698166"/>
                  <a:pt x="402267" y="696232"/>
                  <a:pt x="406154" y="696232"/>
                </a:cubicBezTo>
                <a:cubicBezTo>
                  <a:pt x="1008583" y="696232"/>
                  <a:pt x="1008583" y="696232"/>
                  <a:pt x="1008583" y="696232"/>
                </a:cubicBezTo>
                <a:cubicBezTo>
                  <a:pt x="1041619" y="696232"/>
                  <a:pt x="1068826" y="669157"/>
                  <a:pt x="1068826" y="636279"/>
                </a:cubicBezTo>
                <a:cubicBezTo>
                  <a:pt x="1068826" y="610170"/>
                  <a:pt x="1068826" y="587325"/>
                  <a:pt x="1068826" y="567336"/>
                </a:cubicBezTo>
                <a:lnTo>
                  <a:pt x="1068826" y="556942"/>
                </a:lnTo>
                <a:lnTo>
                  <a:pt x="1012708" y="605759"/>
                </a:lnTo>
                <a:cubicBezTo>
                  <a:pt x="999619" y="612993"/>
                  <a:pt x="985168" y="619026"/>
                  <a:pt x="969247" y="623493"/>
                </a:cubicBezTo>
                <a:lnTo>
                  <a:pt x="943608" y="627579"/>
                </a:lnTo>
                <a:lnTo>
                  <a:pt x="940094" y="645872"/>
                </a:lnTo>
                <a:cubicBezTo>
                  <a:pt x="931428" y="667379"/>
                  <a:pt x="910995" y="682625"/>
                  <a:pt x="886184" y="682625"/>
                </a:cubicBezTo>
                <a:cubicBezTo>
                  <a:pt x="703263" y="682625"/>
                  <a:pt x="703263" y="682625"/>
                  <a:pt x="703263" y="682625"/>
                </a:cubicBezTo>
                <a:cubicBezTo>
                  <a:pt x="670182" y="682625"/>
                  <a:pt x="642938" y="655521"/>
                  <a:pt x="642938" y="622610"/>
                </a:cubicBezTo>
                <a:cubicBezTo>
                  <a:pt x="642938" y="581954"/>
                  <a:pt x="642938" y="581954"/>
                  <a:pt x="642938" y="581954"/>
                </a:cubicBezTo>
                <a:cubicBezTo>
                  <a:pt x="642938" y="550979"/>
                  <a:pt x="670182" y="523875"/>
                  <a:pt x="703263" y="523875"/>
                </a:cubicBezTo>
                <a:cubicBezTo>
                  <a:pt x="886184" y="523875"/>
                  <a:pt x="886184" y="523875"/>
                  <a:pt x="886184" y="523875"/>
                </a:cubicBezTo>
                <a:cubicBezTo>
                  <a:pt x="910995" y="523875"/>
                  <a:pt x="931428" y="539121"/>
                  <a:pt x="940094" y="559812"/>
                </a:cubicBezTo>
                <a:lnTo>
                  <a:pt x="941961" y="569064"/>
                </a:lnTo>
                <a:lnTo>
                  <a:pt x="960646" y="565759"/>
                </a:lnTo>
                <a:cubicBezTo>
                  <a:pt x="1001033" y="552325"/>
                  <a:pt x="1026300" y="524414"/>
                  <a:pt x="1041989" y="496504"/>
                </a:cubicBezTo>
                <a:lnTo>
                  <a:pt x="1059306" y="452438"/>
                </a:lnTo>
                <a:lnTo>
                  <a:pt x="1054854" y="452438"/>
                </a:lnTo>
                <a:cubicBezTo>
                  <a:pt x="1053521" y="452438"/>
                  <a:pt x="1053521" y="452438"/>
                  <a:pt x="1053521" y="452438"/>
                </a:cubicBezTo>
                <a:cubicBezTo>
                  <a:pt x="1020565" y="452438"/>
                  <a:pt x="995363" y="425369"/>
                  <a:pt x="995363" y="392500"/>
                </a:cubicBezTo>
                <a:cubicBezTo>
                  <a:pt x="995363" y="208818"/>
                  <a:pt x="995363" y="208818"/>
                  <a:pt x="995363" y="208818"/>
                </a:cubicBezTo>
                <a:cubicBezTo>
                  <a:pt x="995363" y="177882"/>
                  <a:pt x="1020565" y="150813"/>
                  <a:pt x="1053521" y="150813"/>
                </a:cubicBezTo>
                <a:lnTo>
                  <a:pt x="1068826" y="150813"/>
                </a:lnTo>
                <a:lnTo>
                  <a:pt x="1068826" y="142450"/>
                </a:lnTo>
                <a:cubicBezTo>
                  <a:pt x="1068826" y="117973"/>
                  <a:pt x="1068826" y="117973"/>
                  <a:pt x="1068826" y="117973"/>
                </a:cubicBezTo>
                <a:cubicBezTo>
                  <a:pt x="1068826" y="85095"/>
                  <a:pt x="1041619" y="58019"/>
                  <a:pt x="1008583" y="58019"/>
                </a:cubicBezTo>
                <a:cubicBezTo>
                  <a:pt x="118543" y="58019"/>
                  <a:pt x="118543" y="58019"/>
                  <a:pt x="118543" y="58019"/>
                </a:cubicBezTo>
                <a:close/>
                <a:moveTo>
                  <a:pt x="118543" y="0"/>
                </a:moveTo>
                <a:cubicBezTo>
                  <a:pt x="1008583" y="0"/>
                  <a:pt x="1008583" y="0"/>
                  <a:pt x="1008583" y="0"/>
                </a:cubicBezTo>
                <a:cubicBezTo>
                  <a:pt x="1074656" y="0"/>
                  <a:pt x="1127125" y="52218"/>
                  <a:pt x="1127125" y="117973"/>
                </a:cubicBezTo>
                <a:lnTo>
                  <a:pt x="1127125" y="150813"/>
                </a:lnTo>
                <a:lnTo>
                  <a:pt x="1128156" y="150813"/>
                </a:lnTo>
                <a:cubicBezTo>
                  <a:pt x="1138819" y="150813"/>
                  <a:pt x="1138819" y="150813"/>
                  <a:pt x="1138819" y="150813"/>
                </a:cubicBezTo>
                <a:cubicBezTo>
                  <a:pt x="1171775" y="150813"/>
                  <a:pt x="1196976" y="177882"/>
                  <a:pt x="1196976" y="208818"/>
                </a:cubicBezTo>
                <a:cubicBezTo>
                  <a:pt x="1196976" y="392500"/>
                  <a:pt x="1196976" y="392500"/>
                  <a:pt x="1196976" y="392500"/>
                </a:cubicBezTo>
                <a:cubicBezTo>
                  <a:pt x="1196976" y="425369"/>
                  <a:pt x="1171775" y="452438"/>
                  <a:pt x="1138819" y="452438"/>
                </a:cubicBezTo>
                <a:lnTo>
                  <a:pt x="1127125" y="452438"/>
                </a:lnTo>
                <a:lnTo>
                  <a:pt x="1127125" y="496353"/>
                </a:lnTo>
                <a:cubicBezTo>
                  <a:pt x="1127125" y="636279"/>
                  <a:pt x="1127125" y="636279"/>
                  <a:pt x="1127125" y="636279"/>
                </a:cubicBezTo>
                <a:cubicBezTo>
                  <a:pt x="1127125" y="702034"/>
                  <a:pt x="1074656" y="754252"/>
                  <a:pt x="1008583" y="754252"/>
                </a:cubicBezTo>
                <a:cubicBezTo>
                  <a:pt x="415870" y="754252"/>
                  <a:pt x="415870" y="754252"/>
                  <a:pt x="415870" y="754252"/>
                </a:cubicBezTo>
                <a:cubicBezTo>
                  <a:pt x="85506" y="970857"/>
                  <a:pt x="85506" y="970857"/>
                  <a:pt x="85506" y="970857"/>
                </a:cubicBezTo>
                <a:cubicBezTo>
                  <a:pt x="79676" y="972791"/>
                  <a:pt x="73846" y="974725"/>
                  <a:pt x="68016" y="974725"/>
                </a:cubicBezTo>
                <a:cubicBezTo>
                  <a:pt x="62186" y="974725"/>
                  <a:pt x="56356" y="972791"/>
                  <a:pt x="50526" y="968923"/>
                </a:cubicBezTo>
                <a:cubicBezTo>
                  <a:pt x="40810" y="961187"/>
                  <a:pt x="36923" y="947649"/>
                  <a:pt x="40810" y="936046"/>
                </a:cubicBezTo>
                <a:cubicBezTo>
                  <a:pt x="108826" y="754252"/>
                  <a:pt x="108826" y="754252"/>
                  <a:pt x="108826" y="754252"/>
                </a:cubicBezTo>
                <a:cubicBezTo>
                  <a:pt x="48583" y="748450"/>
                  <a:pt x="0" y="698166"/>
                  <a:pt x="0" y="636279"/>
                </a:cubicBezTo>
                <a:cubicBezTo>
                  <a:pt x="0" y="117973"/>
                  <a:pt x="0" y="117973"/>
                  <a:pt x="0" y="117973"/>
                </a:cubicBezTo>
                <a:cubicBezTo>
                  <a:pt x="0" y="52218"/>
                  <a:pt x="52470" y="0"/>
                  <a:pt x="118543" y="0"/>
                </a:cubicBezTo>
                <a:close/>
              </a:path>
            </a:pathLst>
          </a:custGeom>
          <a:solidFill>
            <a:schemeClr val="bg1"/>
          </a:solidFill>
          <a:ln>
            <a:noFill/>
          </a:ln>
        </p:spPr>
        <p:txBody>
          <a:bodyPr vert="horz" wrap="square" lIns="124347" tIns="62174" rIns="124347" bIns="62174" numCol="1" anchor="t" anchorCtr="0" compatLnSpc="1">
            <a:prstTxWarp prst="textNoShape">
              <a:avLst/>
            </a:prstTxWarp>
            <a:noAutofit/>
          </a:bodyPr>
          <a:lstStyle/>
          <a:p>
            <a:pPr defTabSz="1243431">
              <a:defRPr/>
            </a:pPr>
            <a:endParaRPr lang="en-US" sz="2448" kern="0">
              <a:solidFill>
                <a:sysClr val="windowText" lastClr="000000"/>
              </a:solidFill>
              <a:latin typeface="Segoe UI"/>
            </a:endParaRPr>
          </a:p>
        </p:txBody>
      </p:sp>
      <p:sp>
        <p:nvSpPr>
          <p:cNvPr id="1026" name="Freeform: Shape 866"/>
          <p:cNvSpPr>
            <a:spLocks/>
          </p:cNvSpPr>
          <p:nvPr/>
        </p:nvSpPr>
        <p:spPr bwMode="auto">
          <a:xfrm>
            <a:off x="5105382" y="1732698"/>
            <a:ext cx="143522" cy="116873"/>
          </a:xfrm>
          <a:custGeom>
            <a:avLst/>
            <a:gdLst>
              <a:gd name="connsiteX0" fmla="*/ 701676 w 1196976"/>
              <a:gd name="connsiteY0" fmla="*/ 582613 h 974725"/>
              <a:gd name="connsiteX1" fmla="*/ 701676 w 1196976"/>
              <a:gd name="connsiteY1" fmla="*/ 622012 h 974725"/>
              <a:gd name="connsiteX2" fmla="*/ 703615 w 1196976"/>
              <a:gd name="connsiteY2" fmla="*/ 623888 h 974725"/>
              <a:gd name="connsiteX3" fmla="*/ 885826 w 1196976"/>
              <a:gd name="connsiteY3" fmla="*/ 623888 h 974725"/>
              <a:gd name="connsiteX4" fmla="*/ 885826 w 1196976"/>
              <a:gd name="connsiteY4" fmla="*/ 622012 h 974725"/>
              <a:gd name="connsiteX5" fmla="*/ 885826 w 1196976"/>
              <a:gd name="connsiteY5" fmla="*/ 582613 h 974725"/>
              <a:gd name="connsiteX6" fmla="*/ 703615 w 1196976"/>
              <a:gd name="connsiteY6" fmla="*/ 582613 h 974725"/>
              <a:gd name="connsiteX7" fmla="*/ 701676 w 1196976"/>
              <a:gd name="connsiteY7" fmla="*/ 582613 h 974725"/>
              <a:gd name="connsiteX8" fmla="*/ 385969 w 1196976"/>
              <a:gd name="connsiteY8" fmla="*/ 427491 h 974725"/>
              <a:gd name="connsiteX9" fmla="*/ 408077 w 1196976"/>
              <a:gd name="connsiteY9" fmla="*/ 433537 h 974725"/>
              <a:gd name="connsiteX10" fmla="*/ 410020 w 1196976"/>
              <a:gd name="connsiteY10" fmla="*/ 435472 h 974725"/>
              <a:gd name="connsiteX11" fmla="*/ 719049 w 1196976"/>
              <a:gd name="connsiteY11" fmla="*/ 435472 h 974725"/>
              <a:gd name="connsiteX12" fmla="*/ 761807 w 1196976"/>
              <a:gd name="connsiteY12" fmla="*/ 439341 h 974725"/>
              <a:gd name="connsiteX13" fmla="*/ 757920 w 1196976"/>
              <a:gd name="connsiteY13" fmla="*/ 479971 h 974725"/>
              <a:gd name="connsiteX14" fmla="*/ 565506 w 1196976"/>
              <a:gd name="connsiteY14" fmla="*/ 547688 h 974725"/>
              <a:gd name="connsiteX15" fmla="*/ 371149 w 1196976"/>
              <a:gd name="connsiteY15" fmla="*/ 479971 h 974725"/>
              <a:gd name="connsiteX16" fmla="*/ 369205 w 1196976"/>
              <a:gd name="connsiteY16" fmla="*/ 478037 h 974725"/>
              <a:gd name="connsiteX17" fmla="*/ 365318 w 1196976"/>
              <a:gd name="connsiteY17" fmla="*/ 437406 h 974725"/>
              <a:gd name="connsiteX18" fmla="*/ 385969 w 1196976"/>
              <a:gd name="connsiteY18" fmla="*/ 427491 h 974725"/>
              <a:gd name="connsiteX19" fmla="*/ 1052514 w 1196976"/>
              <a:gd name="connsiteY19" fmla="*/ 209550 h 974725"/>
              <a:gd name="connsiteX20" fmla="*/ 1052514 w 1196976"/>
              <a:gd name="connsiteY20" fmla="*/ 393353 h 974725"/>
              <a:gd name="connsiteX21" fmla="*/ 1052514 w 1196976"/>
              <a:gd name="connsiteY21" fmla="*/ 395288 h 974725"/>
              <a:gd name="connsiteX22" fmla="*/ 1138239 w 1196976"/>
              <a:gd name="connsiteY22" fmla="*/ 395288 h 974725"/>
              <a:gd name="connsiteX23" fmla="*/ 1138239 w 1196976"/>
              <a:gd name="connsiteY23" fmla="*/ 393353 h 974725"/>
              <a:gd name="connsiteX24" fmla="*/ 1138239 w 1196976"/>
              <a:gd name="connsiteY24" fmla="*/ 209550 h 974725"/>
              <a:gd name="connsiteX25" fmla="*/ 786607 w 1196976"/>
              <a:gd name="connsiteY25" fmla="*/ 177800 h 974725"/>
              <a:gd name="connsiteX26" fmla="*/ 889196 w 1196976"/>
              <a:gd name="connsiteY26" fmla="*/ 253471 h 974725"/>
              <a:gd name="connsiteX27" fmla="*/ 891131 w 1196976"/>
              <a:gd name="connsiteY27" fmla="*/ 255412 h 974725"/>
              <a:gd name="connsiteX28" fmla="*/ 877582 w 1196976"/>
              <a:gd name="connsiteY28" fmla="*/ 296158 h 974725"/>
              <a:gd name="connsiteX29" fmla="*/ 864032 w 1196976"/>
              <a:gd name="connsiteY29" fmla="*/ 298098 h 974725"/>
              <a:gd name="connsiteX30" fmla="*/ 838869 w 1196976"/>
              <a:gd name="connsiteY30" fmla="*/ 282576 h 974725"/>
              <a:gd name="connsiteX31" fmla="*/ 836933 w 1196976"/>
              <a:gd name="connsiteY31" fmla="*/ 280635 h 974725"/>
              <a:gd name="connsiteX32" fmla="*/ 786607 w 1196976"/>
              <a:gd name="connsiteY32" fmla="*/ 236009 h 974725"/>
              <a:gd name="connsiteX33" fmla="*/ 736280 w 1196976"/>
              <a:gd name="connsiteY33" fmla="*/ 280635 h 974725"/>
              <a:gd name="connsiteX34" fmla="*/ 695632 w 1196976"/>
              <a:gd name="connsiteY34" fmla="*/ 294217 h 974725"/>
              <a:gd name="connsiteX35" fmla="*/ 684018 w 1196976"/>
              <a:gd name="connsiteY35" fmla="*/ 253471 h 974725"/>
              <a:gd name="connsiteX36" fmla="*/ 786607 w 1196976"/>
              <a:gd name="connsiteY36" fmla="*/ 177800 h 974725"/>
              <a:gd name="connsiteX37" fmla="*/ 340520 w 1196976"/>
              <a:gd name="connsiteY37" fmla="*/ 177800 h 974725"/>
              <a:gd name="connsiteX38" fmla="*/ 443109 w 1196976"/>
              <a:gd name="connsiteY38" fmla="*/ 253471 h 974725"/>
              <a:gd name="connsiteX39" fmla="*/ 443109 w 1196976"/>
              <a:gd name="connsiteY39" fmla="*/ 255412 h 974725"/>
              <a:gd name="connsiteX40" fmla="*/ 431495 w 1196976"/>
              <a:gd name="connsiteY40" fmla="*/ 296158 h 974725"/>
              <a:gd name="connsiteX41" fmla="*/ 417945 w 1196976"/>
              <a:gd name="connsiteY41" fmla="*/ 298098 h 974725"/>
              <a:gd name="connsiteX42" fmla="*/ 390846 w 1196976"/>
              <a:gd name="connsiteY42" fmla="*/ 282576 h 974725"/>
              <a:gd name="connsiteX43" fmla="*/ 390846 w 1196976"/>
              <a:gd name="connsiteY43" fmla="*/ 280635 h 974725"/>
              <a:gd name="connsiteX44" fmla="*/ 340520 w 1196976"/>
              <a:gd name="connsiteY44" fmla="*/ 236009 h 974725"/>
              <a:gd name="connsiteX45" fmla="*/ 288257 w 1196976"/>
              <a:gd name="connsiteY45" fmla="*/ 280635 h 974725"/>
              <a:gd name="connsiteX46" fmla="*/ 249545 w 1196976"/>
              <a:gd name="connsiteY46" fmla="*/ 294217 h 974725"/>
              <a:gd name="connsiteX47" fmla="*/ 235995 w 1196976"/>
              <a:gd name="connsiteY47" fmla="*/ 253471 h 974725"/>
              <a:gd name="connsiteX48" fmla="*/ 340520 w 1196976"/>
              <a:gd name="connsiteY48" fmla="*/ 177800 h 974725"/>
              <a:gd name="connsiteX49" fmla="*/ 118543 w 1196976"/>
              <a:gd name="connsiteY49" fmla="*/ 58019 h 974725"/>
              <a:gd name="connsiteX50" fmla="*/ 58300 w 1196976"/>
              <a:gd name="connsiteY50" fmla="*/ 117973 h 974725"/>
              <a:gd name="connsiteX51" fmla="*/ 58300 w 1196976"/>
              <a:gd name="connsiteY51" fmla="*/ 636279 h 974725"/>
              <a:gd name="connsiteX52" fmla="*/ 118543 w 1196976"/>
              <a:gd name="connsiteY52" fmla="*/ 696232 h 974725"/>
              <a:gd name="connsiteX53" fmla="*/ 149636 w 1196976"/>
              <a:gd name="connsiteY53" fmla="*/ 696232 h 974725"/>
              <a:gd name="connsiteX54" fmla="*/ 174899 w 1196976"/>
              <a:gd name="connsiteY54" fmla="*/ 707836 h 974725"/>
              <a:gd name="connsiteX55" fmla="*/ 178785 w 1196976"/>
              <a:gd name="connsiteY55" fmla="*/ 734912 h 974725"/>
              <a:gd name="connsiteX56" fmla="*/ 126316 w 1196976"/>
              <a:gd name="connsiteY56" fmla="*/ 874158 h 974725"/>
              <a:gd name="connsiteX57" fmla="*/ 390607 w 1196976"/>
              <a:gd name="connsiteY57" fmla="*/ 700100 h 974725"/>
              <a:gd name="connsiteX58" fmla="*/ 406154 w 1196976"/>
              <a:gd name="connsiteY58" fmla="*/ 696232 h 974725"/>
              <a:gd name="connsiteX59" fmla="*/ 1008583 w 1196976"/>
              <a:gd name="connsiteY59" fmla="*/ 696232 h 974725"/>
              <a:gd name="connsiteX60" fmla="*/ 1068826 w 1196976"/>
              <a:gd name="connsiteY60" fmla="*/ 636279 h 974725"/>
              <a:gd name="connsiteX61" fmla="*/ 1068826 w 1196976"/>
              <a:gd name="connsiteY61" fmla="*/ 567336 h 974725"/>
              <a:gd name="connsiteX62" fmla="*/ 1068826 w 1196976"/>
              <a:gd name="connsiteY62" fmla="*/ 556942 h 974725"/>
              <a:gd name="connsiteX63" fmla="*/ 1012708 w 1196976"/>
              <a:gd name="connsiteY63" fmla="*/ 605759 h 974725"/>
              <a:gd name="connsiteX64" fmla="*/ 969247 w 1196976"/>
              <a:gd name="connsiteY64" fmla="*/ 623493 h 974725"/>
              <a:gd name="connsiteX65" fmla="*/ 943608 w 1196976"/>
              <a:gd name="connsiteY65" fmla="*/ 627579 h 974725"/>
              <a:gd name="connsiteX66" fmla="*/ 940094 w 1196976"/>
              <a:gd name="connsiteY66" fmla="*/ 645872 h 974725"/>
              <a:gd name="connsiteX67" fmla="*/ 886184 w 1196976"/>
              <a:gd name="connsiteY67" fmla="*/ 682625 h 974725"/>
              <a:gd name="connsiteX68" fmla="*/ 703263 w 1196976"/>
              <a:gd name="connsiteY68" fmla="*/ 682625 h 974725"/>
              <a:gd name="connsiteX69" fmla="*/ 642938 w 1196976"/>
              <a:gd name="connsiteY69" fmla="*/ 622610 h 974725"/>
              <a:gd name="connsiteX70" fmla="*/ 642938 w 1196976"/>
              <a:gd name="connsiteY70" fmla="*/ 581954 h 974725"/>
              <a:gd name="connsiteX71" fmla="*/ 703263 w 1196976"/>
              <a:gd name="connsiteY71" fmla="*/ 523875 h 974725"/>
              <a:gd name="connsiteX72" fmla="*/ 886184 w 1196976"/>
              <a:gd name="connsiteY72" fmla="*/ 523875 h 974725"/>
              <a:gd name="connsiteX73" fmla="*/ 940094 w 1196976"/>
              <a:gd name="connsiteY73" fmla="*/ 559812 h 974725"/>
              <a:gd name="connsiteX74" fmla="*/ 941961 w 1196976"/>
              <a:gd name="connsiteY74" fmla="*/ 569064 h 974725"/>
              <a:gd name="connsiteX75" fmla="*/ 960646 w 1196976"/>
              <a:gd name="connsiteY75" fmla="*/ 565759 h 974725"/>
              <a:gd name="connsiteX76" fmla="*/ 1041989 w 1196976"/>
              <a:gd name="connsiteY76" fmla="*/ 496504 h 974725"/>
              <a:gd name="connsiteX77" fmla="*/ 1059306 w 1196976"/>
              <a:gd name="connsiteY77" fmla="*/ 452438 h 974725"/>
              <a:gd name="connsiteX78" fmla="*/ 1054854 w 1196976"/>
              <a:gd name="connsiteY78" fmla="*/ 452438 h 974725"/>
              <a:gd name="connsiteX79" fmla="*/ 1053521 w 1196976"/>
              <a:gd name="connsiteY79" fmla="*/ 452438 h 974725"/>
              <a:gd name="connsiteX80" fmla="*/ 995363 w 1196976"/>
              <a:gd name="connsiteY80" fmla="*/ 392500 h 974725"/>
              <a:gd name="connsiteX81" fmla="*/ 995363 w 1196976"/>
              <a:gd name="connsiteY81" fmla="*/ 208818 h 974725"/>
              <a:gd name="connsiteX82" fmla="*/ 1053521 w 1196976"/>
              <a:gd name="connsiteY82" fmla="*/ 150813 h 974725"/>
              <a:gd name="connsiteX83" fmla="*/ 1068826 w 1196976"/>
              <a:gd name="connsiteY83" fmla="*/ 150813 h 974725"/>
              <a:gd name="connsiteX84" fmla="*/ 1068826 w 1196976"/>
              <a:gd name="connsiteY84" fmla="*/ 142450 h 974725"/>
              <a:gd name="connsiteX85" fmla="*/ 1068826 w 1196976"/>
              <a:gd name="connsiteY85" fmla="*/ 117973 h 974725"/>
              <a:gd name="connsiteX86" fmla="*/ 1008583 w 1196976"/>
              <a:gd name="connsiteY86" fmla="*/ 58019 h 974725"/>
              <a:gd name="connsiteX87" fmla="*/ 118543 w 1196976"/>
              <a:gd name="connsiteY87" fmla="*/ 58019 h 974725"/>
              <a:gd name="connsiteX88" fmla="*/ 118543 w 1196976"/>
              <a:gd name="connsiteY88" fmla="*/ 0 h 974725"/>
              <a:gd name="connsiteX89" fmla="*/ 1008583 w 1196976"/>
              <a:gd name="connsiteY89" fmla="*/ 0 h 974725"/>
              <a:gd name="connsiteX90" fmla="*/ 1127125 w 1196976"/>
              <a:gd name="connsiteY90" fmla="*/ 117973 h 974725"/>
              <a:gd name="connsiteX91" fmla="*/ 1127125 w 1196976"/>
              <a:gd name="connsiteY91" fmla="*/ 150813 h 974725"/>
              <a:gd name="connsiteX92" fmla="*/ 1128156 w 1196976"/>
              <a:gd name="connsiteY92" fmla="*/ 150813 h 974725"/>
              <a:gd name="connsiteX93" fmla="*/ 1138819 w 1196976"/>
              <a:gd name="connsiteY93" fmla="*/ 150813 h 974725"/>
              <a:gd name="connsiteX94" fmla="*/ 1196976 w 1196976"/>
              <a:gd name="connsiteY94" fmla="*/ 208818 h 974725"/>
              <a:gd name="connsiteX95" fmla="*/ 1196976 w 1196976"/>
              <a:gd name="connsiteY95" fmla="*/ 392500 h 974725"/>
              <a:gd name="connsiteX96" fmla="*/ 1138819 w 1196976"/>
              <a:gd name="connsiteY96" fmla="*/ 452438 h 974725"/>
              <a:gd name="connsiteX97" fmla="*/ 1127125 w 1196976"/>
              <a:gd name="connsiteY97" fmla="*/ 452438 h 974725"/>
              <a:gd name="connsiteX98" fmla="*/ 1127125 w 1196976"/>
              <a:gd name="connsiteY98" fmla="*/ 496353 h 974725"/>
              <a:gd name="connsiteX99" fmla="*/ 1127125 w 1196976"/>
              <a:gd name="connsiteY99" fmla="*/ 636279 h 974725"/>
              <a:gd name="connsiteX100" fmla="*/ 1008583 w 1196976"/>
              <a:gd name="connsiteY100" fmla="*/ 754252 h 974725"/>
              <a:gd name="connsiteX101" fmla="*/ 415870 w 1196976"/>
              <a:gd name="connsiteY101" fmla="*/ 754252 h 974725"/>
              <a:gd name="connsiteX102" fmla="*/ 85506 w 1196976"/>
              <a:gd name="connsiteY102" fmla="*/ 970857 h 974725"/>
              <a:gd name="connsiteX103" fmla="*/ 68016 w 1196976"/>
              <a:gd name="connsiteY103" fmla="*/ 974725 h 974725"/>
              <a:gd name="connsiteX104" fmla="*/ 50526 w 1196976"/>
              <a:gd name="connsiteY104" fmla="*/ 968923 h 974725"/>
              <a:gd name="connsiteX105" fmla="*/ 40810 w 1196976"/>
              <a:gd name="connsiteY105" fmla="*/ 936046 h 974725"/>
              <a:gd name="connsiteX106" fmla="*/ 108826 w 1196976"/>
              <a:gd name="connsiteY106" fmla="*/ 754252 h 974725"/>
              <a:gd name="connsiteX107" fmla="*/ 0 w 1196976"/>
              <a:gd name="connsiteY107" fmla="*/ 636279 h 974725"/>
              <a:gd name="connsiteX108" fmla="*/ 0 w 1196976"/>
              <a:gd name="connsiteY108" fmla="*/ 117973 h 974725"/>
              <a:gd name="connsiteX109" fmla="*/ 118543 w 1196976"/>
              <a:gd name="connsiteY109" fmla="*/ 0 h 974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96976" h="974725">
                <a:moveTo>
                  <a:pt x="701676" y="582613"/>
                </a:moveTo>
                <a:cubicBezTo>
                  <a:pt x="701676" y="622012"/>
                  <a:pt x="701676" y="622012"/>
                  <a:pt x="701676" y="622012"/>
                </a:cubicBezTo>
                <a:cubicBezTo>
                  <a:pt x="701676" y="623888"/>
                  <a:pt x="703615" y="623888"/>
                  <a:pt x="703615" y="623888"/>
                </a:cubicBezTo>
                <a:cubicBezTo>
                  <a:pt x="885826" y="623888"/>
                  <a:pt x="885826" y="623888"/>
                  <a:pt x="885826" y="623888"/>
                </a:cubicBezTo>
                <a:cubicBezTo>
                  <a:pt x="885826" y="623888"/>
                  <a:pt x="885826" y="623888"/>
                  <a:pt x="885826" y="622012"/>
                </a:cubicBezTo>
                <a:cubicBezTo>
                  <a:pt x="885826" y="582613"/>
                  <a:pt x="885826" y="582613"/>
                  <a:pt x="885826" y="582613"/>
                </a:cubicBezTo>
                <a:lnTo>
                  <a:pt x="703615" y="582613"/>
                </a:lnTo>
                <a:cubicBezTo>
                  <a:pt x="703615" y="582613"/>
                  <a:pt x="701676" y="582613"/>
                  <a:pt x="701676" y="582613"/>
                </a:cubicBezTo>
                <a:close/>
                <a:moveTo>
                  <a:pt x="385969" y="427491"/>
                </a:moveTo>
                <a:cubicBezTo>
                  <a:pt x="393500" y="426765"/>
                  <a:pt x="401274" y="428700"/>
                  <a:pt x="408077" y="433537"/>
                </a:cubicBezTo>
                <a:cubicBezTo>
                  <a:pt x="410020" y="435472"/>
                  <a:pt x="410020" y="435472"/>
                  <a:pt x="410020" y="435472"/>
                </a:cubicBezTo>
                <a:cubicBezTo>
                  <a:pt x="495538" y="508993"/>
                  <a:pt x="633531" y="508993"/>
                  <a:pt x="719049" y="435472"/>
                </a:cubicBezTo>
                <a:cubicBezTo>
                  <a:pt x="732654" y="425798"/>
                  <a:pt x="750146" y="427733"/>
                  <a:pt x="761807" y="439341"/>
                </a:cubicBezTo>
                <a:cubicBezTo>
                  <a:pt x="771525" y="450950"/>
                  <a:pt x="769582" y="470298"/>
                  <a:pt x="757920" y="479971"/>
                </a:cubicBezTo>
                <a:cubicBezTo>
                  <a:pt x="705444" y="524471"/>
                  <a:pt x="635475" y="547688"/>
                  <a:pt x="565506" y="547688"/>
                </a:cubicBezTo>
                <a:cubicBezTo>
                  <a:pt x="495538" y="547688"/>
                  <a:pt x="425569" y="524471"/>
                  <a:pt x="371149" y="479971"/>
                </a:cubicBezTo>
                <a:cubicBezTo>
                  <a:pt x="369205" y="478037"/>
                  <a:pt x="369205" y="478037"/>
                  <a:pt x="369205" y="478037"/>
                </a:cubicBezTo>
                <a:cubicBezTo>
                  <a:pt x="357544" y="468363"/>
                  <a:pt x="355600" y="449015"/>
                  <a:pt x="365318" y="437406"/>
                </a:cubicBezTo>
                <a:cubicBezTo>
                  <a:pt x="371149" y="431602"/>
                  <a:pt x="378437" y="428216"/>
                  <a:pt x="385969" y="427491"/>
                </a:cubicBezTo>
                <a:close/>
                <a:moveTo>
                  <a:pt x="1052514" y="209550"/>
                </a:moveTo>
                <a:cubicBezTo>
                  <a:pt x="1052514" y="393353"/>
                  <a:pt x="1052514" y="393353"/>
                  <a:pt x="1052514" y="393353"/>
                </a:cubicBezTo>
                <a:cubicBezTo>
                  <a:pt x="1052514" y="395288"/>
                  <a:pt x="1052514" y="395288"/>
                  <a:pt x="1052514" y="395288"/>
                </a:cubicBezTo>
                <a:cubicBezTo>
                  <a:pt x="1138239" y="395288"/>
                  <a:pt x="1138239" y="395288"/>
                  <a:pt x="1138239" y="395288"/>
                </a:cubicBezTo>
                <a:cubicBezTo>
                  <a:pt x="1138239" y="395288"/>
                  <a:pt x="1138239" y="395288"/>
                  <a:pt x="1138239" y="393353"/>
                </a:cubicBezTo>
                <a:cubicBezTo>
                  <a:pt x="1138239" y="209550"/>
                  <a:pt x="1138239" y="209550"/>
                  <a:pt x="1138239" y="209550"/>
                </a:cubicBezTo>
                <a:close/>
                <a:moveTo>
                  <a:pt x="786607" y="177800"/>
                </a:moveTo>
                <a:cubicBezTo>
                  <a:pt x="827255" y="177800"/>
                  <a:pt x="864032" y="204964"/>
                  <a:pt x="889196" y="253471"/>
                </a:cubicBezTo>
                <a:cubicBezTo>
                  <a:pt x="891131" y="255412"/>
                  <a:pt x="891131" y="255412"/>
                  <a:pt x="891131" y="255412"/>
                </a:cubicBezTo>
                <a:cubicBezTo>
                  <a:pt x="896938" y="270934"/>
                  <a:pt x="893067" y="288396"/>
                  <a:pt x="877582" y="296158"/>
                </a:cubicBezTo>
                <a:cubicBezTo>
                  <a:pt x="873711" y="298098"/>
                  <a:pt x="869839" y="298098"/>
                  <a:pt x="864032" y="298098"/>
                </a:cubicBezTo>
                <a:cubicBezTo>
                  <a:pt x="854354" y="298098"/>
                  <a:pt x="844676" y="292277"/>
                  <a:pt x="838869" y="282576"/>
                </a:cubicBezTo>
                <a:cubicBezTo>
                  <a:pt x="836933" y="280635"/>
                  <a:pt x="836933" y="280635"/>
                  <a:pt x="836933" y="280635"/>
                </a:cubicBezTo>
                <a:cubicBezTo>
                  <a:pt x="823384" y="251531"/>
                  <a:pt x="804028" y="236009"/>
                  <a:pt x="786607" y="236009"/>
                </a:cubicBezTo>
                <a:cubicBezTo>
                  <a:pt x="769186" y="236009"/>
                  <a:pt x="749830" y="251531"/>
                  <a:pt x="736280" y="280635"/>
                </a:cubicBezTo>
                <a:cubicBezTo>
                  <a:pt x="728538" y="296158"/>
                  <a:pt x="711117" y="300038"/>
                  <a:pt x="695632" y="294217"/>
                </a:cubicBezTo>
                <a:cubicBezTo>
                  <a:pt x="682082" y="286456"/>
                  <a:pt x="676275" y="268994"/>
                  <a:pt x="684018" y="253471"/>
                </a:cubicBezTo>
                <a:cubicBezTo>
                  <a:pt x="709181" y="204964"/>
                  <a:pt x="745958" y="177800"/>
                  <a:pt x="786607" y="177800"/>
                </a:cubicBezTo>
                <a:close/>
                <a:moveTo>
                  <a:pt x="340520" y="177800"/>
                </a:moveTo>
                <a:cubicBezTo>
                  <a:pt x="379233" y="177800"/>
                  <a:pt x="416010" y="204964"/>
                  <a:pt x="443109" y="253471"/>
                </a:cubicBezTo>
                <a:cubicBezTo>
                  <a:pt x="443109" y="255412"/>
                  <a:pt x="443109" y="255412"/>
                  <a:pt x="443109" y="255412"/>
                </a:cubicBezTo>
                <a:cubicBezTo>
                  <a:pt x="450851" y="270934"/>
                  <a:pt x="445044" y="288396"/>
                  <a:pt x="431495" y="296158"/>
                </a:cubicBezTo>
                <a:cubicBezTo>
                  <a:pt x="425688" y="298098"/>
                  <a:pt x="421817" y="298098"/>
                  <a:pt x="417945" y="298098"/>
                </a:cubicBezTo>
                <a:cubicBezTo>
                  <a:pt x="406332" y="298098"/>
                  <a:pt x="396653" y="292277"/>
                  <a:pt x="390846" y="282576"/>
                </a:cubicBezTo>
                <a:cubicBezTo>
                  <a:pt x="390846" y="280635"/>
                  <a:pt x="390846" y="280635"/>
                  <a:pt x="390846" y="280635"/>
                </a:cubicBezTo>
                <a:cubicBezTo>
                  <a:pt x="375361" y="251531"/>
                  <a:pt x="357941" y="236009"/>
                  <a:pt x="340520" y="236009"/>
                </a:cubicBezTo>
                <a:cubicBezTo>
                  <a:pt x="321163" y="236009"/>
                  <a:pt x="303743" y="251531"/>
                  <a:pt x="288257" y="280635"/>
                </a:cubicBezTo>
                <a:cubicBezTo>
                  <a:pt x="280515" y="296158"/>
                  <a:pt x="263094" y="300038"/>
                  <a:pt x="249545" y="294217"/>
                </a:cubicBezTo>
                <a:cubicBezTo>
                  <a:pt x="234060" y="286456"/>
                  <a:pt x="230188" y="268994"/>
                  <a:pt x="235995" y="253471"/>
                </a:cubicBezTo>
                <a:cubicBezTo>
                  <a:pt x="263094" y="204964"/>
                  <a:pt x="299871" y="177800"/>
                  <a:pt x="340520" y="177800"/>
                </a:cubicBezTo>
                <a:close/>
                <a:moveTo>
                  <a:pt x="118543" y="58019"/>
                </a:moveTo>
                <a:cubicBezTo>
                  <a:pt x="85506" y="58019"/>
                  <a:pt x="58300" y="85095"/>
                  <a:pt x="58300" y="117973"/>
                </a:cubicBezTo>
                <a:cubicBezTo>
                  <a:pt x="58300" y="636279"/>
                  <a:pt x="58300" y="636279"/>
                  <a:pt x="58300" y="636279"/>
                </a:cubicBezTo>
                <a:cubicBezTo>
                  <a:pt x="58300" y="669157"/>
                  <a:pt x="85506" y="696232"/>
                  <a:pt x="118543" y="696232"/>
                </a:cubicBezTo>
                <a:cubicBezTo>
                  <a:pt x="149636" y="696232"/>
                  <a:pt x="149636" y="696232"/>
                  <a:pt x="149636" y="696232"/>
                </a:cubicBezTo>
                <a:cubicBezTo>
                  <a:pt x="159352" y="696232"/>
                  <a:pt x="169069" y="700100"/>
                  <a:pt x="174899" y="707836"/>
                </a:cubicBezTo>
                <a:cubicBezTo>
                  <a:pt x="180729" y="715572"/>
                  <a:pt x="180729" y="727176"/>
                  <a:pt x="178785" y="734912"/>
                </a:cubicBezTo>
                <a:cubicBezTo>
                  <a:pt x="126316" y="874158"/>
                  <a:pt x="126316" y="874158"/>
                  <a:pt x="126316" y="874158"/>
                </a:cubicBezTo>
                <a:cubicBezTo>
                  <a:pt x="390607" y="700100"/>
                  <a:pt x="390607" y="700100"/>
                  <a:pt x="390607" y="700100"/>
                </a:cubicBezTo>
                <a:cubicBezTo>
                  <a:pt x="396437" y="698166"/>
                  <a:pt x="402267" y="696232"/>
                  <a:pt x="406154" y="696232"/>
                </a:cubicBezTo>
                <a:cubicBezTo>
                  <a:pt x="1008583" y="696232"/>
                  <a:pt x="1008583" y="696232"/>
                  <a:pt x="1008583" y="696232"/>
                </a:cubicBezTo>
                <a:cubicBezTo>
                  <a:pt x="1041619" y="696232"/>
                  <a:pt x="1068826" y="669157"/>
                  <a:pt x="1068826" y="636279"/>
                </a:cubicBezTo>
                <a:cubicBezTo>
                  <a:pt x="1068826" y="610170"/>
                  <a:pt x="1068826" y="587325"/>
                  <a:pt x="1068826" y="567336"/>
                </a:cubicBezTo>
                <a:lnTo>
                  <a:pt x="1068826" y="556942"/>
                </a:lnTo>
                <a:lnTo>
                  <a:pt x="1012708" y="605759"/>
                </a:lnTo>
                <a:cubicBezTo>
                  <a:pt x="999619" y="612993"/>
                  <a:pt x="985168" y="619026"/>
                  <a:pt x="969247" y="623493"/>
                </a:cubicBezTo>
                <a:lnTo>
                  <a:pt x="943608" y="627579"/>
                </a:lnTo>
                <a:lnTo>
                  <a:pt x="940094" y="645872"/>
                </a:lnTo>
                <a:cubicBezTo>
                  <a:pt x="931428" y="667379"/>
                  <a:pt x="910995" y="682625"/>
                  <a:pt x="886184" y="682625"/>
                </a:cubicBezTo>
                <a:cubicBezTo>
                  <a:pt x="703263" y="682625"/>
                  <a:pt x="703263" y="682625"/>
                  <a:pt x="703263" y="682625"/>
                </a:cubicBezTo>
                <a:cubicBezTo>
                  <a:pt x="670182" y="682625"/>
                  <a:pt x="642938" y="655521"/>
                  <a:pt x="642938" y="622610"/>
                </a:cubicBezTo>
                <a:cubicBezTo>
                  <a:pt x="642938" y="581954"/>
                  <a:pt x="642938" y="581954"/>
                  <a:pt x="642938" y="581954"/>
                </a:cubicBezTo>
                <a:cubicBezTo>
                  <a:pt x="642938" y="550979"/>
                  <a:pt x="670182" y="523875"/>
                  <a:pt x="703263" y="523875"/>
                </a:cubicBezTo>
                <a:cubicBezTo>
                  <a:pt x="886184" y="523875"/>
                  <a:pt x="886184" y="523875"/>
                  <a:pt x="886184" y="523875"/>
                </a:cubicBezTo>
                <a:cubicBezTo>
                  <a:pt x="910995" y="523875"/>
                  <a:pt x="931428" y="539121"/>
                  <a:pt x="940094" y="559812"/>
                </a:cubicBezTo>
                <a:lnTo>
                  <a:pt x="941961" y="569064"/>
                </a:lnTo>
                <a:lnTo>
                  <a:pt x="960646" y="565759"/>
                </a:lnTo>
                <a:cubicBezTo>
                  <a:pt x="1001033" y="552325"/>
                  <a:pt x="1026300" y="524414"/>
                  <a:pt x="1041989" y="496504"/>
                </a:cubicBezTo>
                <a:lnTo>
                  <a:pt x="1059306" y="452438"/>
                </a:lnTo>
                <a:lnTo>
                  <a:pt x="1054854" y="452438"/>
                </a:lnTo>
                <a:cubicBezTo>
                  <a:pt x="1053521" y="452438"/>
                  <a:pt x="1053521" y="452438"/>
                  <a:pt x="1053521" y="452438"/>
                </a:cubicBezTo>
                <a:cubicBezTo>
                  <a:pt x="1020565" y="452438"/>
                  <a:pt x="995363" y="425369"/>
                  <a:pt x="995363" y="392500"/>
                </a:cubicBezTo>
                <a:cubicBezTo>
                  <a:pt x="995363" y="208818"/>
                  <a:pt x="995363" y="208818"/>
                  <a:pt x="995363" y="208818"/>
                </a:cubicBezTo>
                <a:cubicBezTo>
                  <a:pt x="995363" y="177882"/>
                  <a:pt x="1020565" y="150813"/>
                  <a:pt x="1053521" y="150813"/>
                </a:cubicBezTo>
                <a:lnTo>
                  <a:pt x="1068826" y="150813"/>
                </a:lnTo>
                <a:lnTo>
                  <a:pt x="1068826" y="142450"/>
                </a:lnTo>
                <a:cubicBezTo>
                  <a:pt x="1068826" y="117973"/>
                  <a:pt x="1068826" y="117973"/>
                  <a:pt x="1068826" y="117973"/>
                </a:cubicBezTo>
                <a:cubicBezTo>
                  <a:pt x="1068826" y="85095"/>
                  <a:pt x="1041619" y="58019"/>
                  <a:pt x="1008583" y="58019"/>
                </a:cubicBezTo>
                <a:cubicBezTo>
                  <a:pt x="118543" y="58019"/>
                  <a:pt x="118543" y="58019"/>
                  <a:pt x="118543" y="58019"/>
                </a:cubicBezTo>
                <a:close/>
                <a:moveTo>
                  <a:pt x="118543" y="0"/>
                </a:moveTo>
                <a:cubicBezTo>
                  <a:pt x="1008583" y="0"/>
                  <a:pt x="1008583" y="0"/>
                  <a:pt x="1008583" y="0"/>
                </a:cubicBezTo>
                <a:cubicBezTo>
                  <a:pt x="1074656" y="0"/>
                  <a:pt x="1127125" y="52218"/>
                  <a:pt x="1127125" y="117973"/>
                </a:cubicBezTo>
                <a:lnTo>
                  <a:pt x="1127125" y="150813"/>
                </a:lnTo>
                <a:lnTo>
                  <a:pt x="1128156" y="150813"/>
                </a:lnTo>
                <a:cubicBezTo>
                  <a:pt x="1138819" y="150813"/>
                  <a:pt x="1138819" y="150813"/>
                  <a:pt x="1138819" y="150813"/>
                </a:cubicBezTo>
                <a:cubicBezTo>
                  <a:pt x="1171775" y="150813"/>
                  <a:pt x="1196976" y="177882"/>
                  <a:pt x="1196976" y="208818"/>
                </a:cubicBezTo>
                <a:cubicBezTo>
                  <a:pt x="1196976" y="392500"/>
                  <a:pt x="1196976" y="392500"/>
                  <a:pt x="1196976" y="392500"/>
                </a:cubicBezTo>
                <a:cubicBezTo>
                  <a:pt x="1196976" y="425369"/>
                  <a:pt x="1171775" y="452438"/>
                  <a:pt x="1138819" y="452438"/>
                </a:cubicBezTo>
                <a:lnTo>
                  <a:pt x="1127125" y="452438"/>
                </a:lnTo>
                <a:lnTo>
                  <a:pt x="1127125" y="496353"/>
                </a:lnTo>
                <a:cubicBezTo>
                  <a:pt x="1127125" y="636279"/>
                  <a:pt x="1127125" y="636279"/>
                  <a:pt x="1127125" y="636279"/>
                </a:cubicBezTo>
                <a:cubicBezTo>
                  <a:pt x="1127125" y="702034"/>
                  <a:pt x="1074656" y="754252"/>
                  <a:pt x="1008583" y="754252"/>
                </a:cubicBezTo>
                <a:cubicBezTo>
                  <a:pt x="415870" y="754252"/>
                  <a:pt x="415870" y="754252"/>
                  <a:pt x="415870" y="754252"/>
                </a:cubicBezTo>
                <a:cubicBezTo>
                  <a:pt x="85506" y="970857"/>
                  <a:pt x="85506" y="970857"/>
                  <a:pt x="85506" y="970857"/>
                </a:cubicBezTo>
                <a:cubicBezTo>
                  <a:pt x="79676" y="972791"/>
                  <a:pt x="73846" y="974725"/>
                  <a:pt x="68016" y="974725"/>
                </a:cubicBezTo>
                <a:cubicBezTo>
                  <a:pt x="62186" y="974725"/>
                  <a:pt x="56356" y="972791"/>
                  <a:pt x="50526" y="968923"/>
                </a:cubicBezTo>
                <a:cubicBezTo>
                  <a:pt x="40810" y="961187"/>
                  <a:pt x="36923" y="947649"/>
                  <a:pt x="40810" y="936046"/>
                </a:cubicBezTo>
                <a:cubicBezTo>
                  <a:pt x="108826" y="754252"/>
                  <a:pt x="108826" y="754252"/>
                  <a:pt x="108826" y="754252"/>
                </a:cubicBezTo>
                <a:cubicBezTo>
                  <a:pt x="48583" y="748450"/>
                  <a:pt x="0" y="698166"/>
                  <a:pt x="0" y="636279"/>
                </a:cubicBezTo>
                <a:cubicBezTo>
                  <a:pt x="0" y="117973"/>
                  <a:pt x="0" y="117973"/>
                  <a:pt x="0" y="117973"/>
                </a:cubicBezTo>
                <a:cubicBezTo>
                  <a:pt x="0" y="52218"/>
                  <a:pt x="52470" y="0"/>
                  <a:pt x="118543" y="0"/>
                </a:cubicBezTo>
                <a:close/>
              </a:path>
            </a:pathLst>
          </a:custGeom>
          <a:solidFill>
            <a:schemeClr val="bg1"/>
          </a:solidFill>
          <a:ln>
            <a:noFill/>
          </a:ln>
        </p:spPr>
        <p:txBody>
          <a:bodyPr vert="horz" wrap="square" lIns="124347" tIns="62174" rIns="124347" bIns="62174" numCol="1" anchor="t" anchorCtr="0" compatLnSpc="1">
            <a:prstTxWarp prst="textNoShape">
              <a:avLst/>
            </a:prstTxWarp>
            <a:noAutofit/>
          </a:bodyPr>
          <a:lstStyle/>
          <a:p>
            <a:pPr defTabSz="1243431">
              <a:defRPr/>
            </a:pPr>
            <a:endParaRPr lang="en-US" sz="2448" kern="0">
              <a:solidFill>
                <a:sysClr val="windowText" lastClr="000000"/>
              </a:solidFill>
              <a:latin typeface="Segoe UI"/>
            </a:endParaRPr>
          </a:p>
        </p:txBody>
      </p:sp>
      <p:sp>
        <p:nvSpPr>
          <p:cNvPr id="1027" name="Freeform: Shape 132"/>
          <p:cNvSpPr/>
          <p:nvPr/>
        </p:nvSpPr>
        <p:spPr bwMode="auto">
          <a:xfrm>
            <a:off x="4922955" y="1372078"/>
            <a:ext cx="2590565" cy="5632160"/>
          </a:xfrm>
          <a:custGeom>
            <a:avLst/>
            <a:gdLst>
              <a:gd name="connsiteX0" fmla="*/ 74035 w 1830134"/>
              <a:gd name="connsiteY0" fmla="*/ 225716 h 4141670"/>
              <a:gd name="connsiteX1" fmla="*/ 74035 w 1830134"/>
              <a:gd name="connsiteY1" fmla="*/ 3786972 h 4141670"/>
              <a:gd name="connsiteX2" fmla="*/ 1756099 w 1830134"/>
              <a:gd name="connsiteY2" fmla="*/ 3786972 h 4141670"/>
              <a:gd name="connsiteX3" fmla="*/ 1756099 w 1830134"/>
              <a:gd name="connsiteY3" fmla="*/ 225716 h 4141670"/>
              <a:gd name="connsiteX4" fmla="*/ 54739 w 1830134"/>
              <a:gd name="connsiteY4" fmla="*/ 0 h 4141670"/>
              <a:gd name="connsiteX5" fmla="*/ 1775395 w 1830134"/>
              <a:gd name="connsiteY5" fmla="*/ 0 h 4141670"/>
              <a:gd name="connsiteX6" fmla="*/ 1830134 w 1830134"/>
              <a:gd name="connsiteY6" fmla="*/ 54739 h 4141670"/>
              <a:gd name="connsiteX7" fmla="*/ 1830134 w 1830134"/>
              <a:gd name="connsiteY7" fmla="*/ 4086931 h 4141670"/>
              <a:gd name="connsiteX8" fmla="*/ 1775395 w 1830134"/>
              <a:gd name="connsiteY8" fmla="*/ 4141670 h 4141670"/>
              <a:gd name="connsiteX9" fmla="*/ 54739 w 1830134"/>
              <a:gd name="connsiteY9" fmla="*/ 4141670 h 4141670"/>
              <a:gd name="connsiteX10" fmla="*/ 0 w 1830134"/>
              <a:gd name="connsiteY10" fmla="*/ 4086931 h 4141670"/>
              <a:gd name="connsiteX11" fmla="*/ 0 w 1830134"/>
              <a:gd name="connsiteY11" fmla="*/ 54739 h 4141670"/>
              <a:gd name="connsiteX12" fmla="*/ 54739 w 1830134"/>
              <a:gd name="connsiteY12" fmla="*/ 0 h 414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0134" h="4141670">
                <a:moveTo>
                  <a:pt x="74035" y="225716"/>
                </a:moveTo>
                <a:lnTo>
                  <a:pt x="74035" y="3786972"/>
                </a:lnTo>
                <a:lnTo>
                  <a:pt x="1756099" y="3786972"/>
                </a:lnTo>
                <a:lnTo>
                  <a:pt x="1756099" y="225716"/>
                </a:lnTo>
                <a:close/>
                <a:moveTo>
                  <a:pt x="54739" y="0"/>
                </a:moveTo>
                <a:lnTo>
                  <a:pt x="1775395" y="0"/>
                </a:lnTo>
                <a:cubicBezTo>
                  <a:pt x="1805627" y="0"/>
                  <a:pt x="1830134" y="24507"/>
                  <a:pt x="1830134" y="54739"/>
                </a:cubicBezTo>
                <a:lnTo>
                  <a:pt x="1830134" y="4086931"/>
                </a:lnTo>
                <a:cubicBezTo>
                  <a:pt x="1830134" y="4117163"/>
                  <a:pt x="1805627" y="4141670"/>
                  <a:pt x="1775395" y="4141670"/>
                </a:cubicBezTo>
                <a:lnTo>
                  <a:pt x="54739" y="4141670"/>
                </a:lnTo>
                <a:cubicBezTo>
                  <a:pt x="24507" y="4141670"/>
                  <a:pt x="0" y="4117163"/>
                  <a:pt x="0" y="4086931"/>
                </a:cubicBezTo>
                <a:lnTo>
                  <a:pt x="0" y="54739"/>
                </a:lnTo>
                <a:cubicBezTo>
                  <a:pt x="0" y="24507"/>
                  <a:pt x="24507" y="0"/>
                  <a:pt x="54739"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28" name="Rectangle: Rounded Corners 191"/>
          <p:cNvSpPr/>
          <p:nvPr/>
        </p:nvSpPr>
        <p:spPr bwMode="auto">
          <a:xfrm>
            <a:off x="5916218" y="1488583"/>
            <a:ext cx="604041" cy="82152"/>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nvGrpSpPr>
          <p:cNvPr id="1029" name="Group 1028"/>
          <p:cNvGrpSpPr/>
          <p:nvPr/>
        </p:nvGrpSpPr>
        <p:grpSpPr>
          <a:xfrm>
            <a:off x="-10829179" y="2876640"/>
            <a:ext cx="9435040" cy="2268401"/>
            <a:chOff x="600075" y="1998280"/>
            <a:chExt cx="6938159" cy="1668093"/>
          </a:xfrm>
        </p:grpSpPr>
        <p:grpSp>
          <p:nvGrpSpPr>
            <p:cNvPr id="1030" name="Group 1029"/>
            <p:cNvGrpSpPr/>
            <p:nvPr/>
          </p:nvGrpSpPr>
          <p:grpSpPr>
            <a:xfrm>
              <a:off x="2198840" y="1998280"/>
              <a:ext cx="1563989" cy="339130"/>
              <a:chOff x="2198840" y="1998280"/>
              <a:chExt cx="1563989" cy="339130"/>
            </a:xfrm>
          </p:grpSpPr>
          <p:sp>
            <p:nvSpPr>
              <p:cNvPr id="1037" name="Rectangle 1036"/>
              <p:cNvSpPr/>
              <p:nvPr/>
            </p:nvSpPr>
            <p:spPr bwMode="auto">
              <a:xfrm>
                <a:off x="2198840" y="1998280"/>
                <a:ext cx="749471"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Greeting</a:t>
                </a:r>
              </a:p>
            </p:txBody>
          </p:sp>
          <p:cxnSp>
            <p:nvCxnSpPr>
              <p:cNvPr id="1038" name="Straight Connector 1037"/>
              <p:cNvCxnSpPr/>
              <p:nvPr/>
            </p:nvCxnSpPr>
            <p:spPr>
              <a:xfrm>
                <a:off x="3026569" y="2182132"/>
                <a:ext cx="736260"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31" name="Group 1030"/>
            <p:cNvGrpSpPr/>
            <p:nvPr/>
          </p:nvGrpSpPr>
          <p:grpSpPr>
            <a:xfrm>
              <a:off x="5362575" y="3089433"/>
              <a:ext cx="2175659" cy="449106"/>
              <a:chOff x="5362575" y="3089433"/>
              <a:chExt cx="2175659" cy="449106"/>
            </a:xfrm>
          </p:grpSpPr>
          <p:sp>
            <p:nvSpPr>
              <p:cNvPr id="1035" name="Rectangle 1034"/>
              <p:cNvSpPr/>
              <p:nvPr/>
            </p:nvSpPr>
            <p:spPr bwMode="auto">
              <a:xfrm>
                <a:off x="6343311" y="3089433"/>
                <a:ext cx="1194923" cy="28810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defTabSz="914294">
                  <a:defRPr/>
                </a:pPr>
                <a:r>
                  <a:rPr lang="en-US" sz="1632" kern="0">
                    <a:solidFill>
                      <a:srgbClr val="0078D7"/>
                    </a:solidFill>
                    <a:latin typeface="Segoe UI"/>
                  </a:rPr>
                  <a:t>Prompt for text</a:t>
                </a:r>
              </a:p>
            </p:txBody>
          </p:sp>
          <p:sp>
            <p:nvSpPr>
              <p:cNvPr id="1036" name="Freeform: Shape 24"/>
              <p:cNvSpPr/>
              <p:nvPr/>
            </p:nvSpPr>
            <p:spPr bwMode="auto">
              <a:xfrm>
                <a:off x="5362575" y="3252789"/>
                <a:ext cx="914400" cy="285750"/>
              </a:xfrm>
              <a:custGeom>
                <a:avLst/>
                <a:gdLst>
                  <a:gd name="connsiteX0" fmla="*/ 0 w 862013"/>
                  <a:gd name="connsiteY0" fmla="*/ 252413 h 252413"/>
                  <a:gd name="connsiteX1" fmla="*/ 271463 w 862013"/>
                  <a:gd name="connsiteY1" fmla="*/ 252413 h 252413"/>
                  <a:gd name="connsiteX2" fmla="*/ 862013 w 862013"/>
                  <a:gd name="connsiteY2" fmla="*/ 0 h 252413"/>
                </a:gdLst>
                <a:ahLst/>
                <a:cxnLst>
                  <a:cxn ang="0">
                    <a:pos x="connsiteX0" y="connsiteY0"/>
                  </a:cxn>
                  <a:cxn ang="0">
                    <a:pos x="connsiteX1" y="connsiteY1"/>
                  </a:cxn>
                  <a:cxn ang="0">
                    <a:pos x="connsiteX2" y="connsiteY2"/>
                  </a:cxn>
                </a:cxnLst>
                <a:rect l="l" t="t" r="r" b="b"/>
                <a:pathLst>
                  <a:path w="862013" h="252413">
                    <a:moveTo>
                      <a:pt x="0" y="252413"/>
                    </a:moveTo>
                    <a:lnTo>
                      <a:pt x="271463" y="252413"/>
                    </a:lnTo>
                    <a:lnTo>
                      <a:pt x="862013" y="0"/>
                    </a:lnTo>
                  </a:path>
                </a:pathLst>
              </a:cu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3431">
                  <a:defRPr/>
                </a:pPr>
                <a:endParaRPr lang="en-US" sz="2448" kern="0">
                  <a:solidFill>
                    <a:sysClr val="windowText" lastClr="000000"/>
                  </a:solidFill>
                  <a:latin typeface="Segoe UI"/>
                </a:endParaRPr>
              </a:p>
            </p:txBody>
          </p:sp>
        </p:grpSp>
        <p:grpSp>
          <p:nvGrpSpPr>
            <p:cNvPr id="1032" name="Group 1031"/>
            <p:cNvGrpSpPr/>
            <p:nvPr/>
          </p:nvGrpSpPr>
          <p:grpSpPr>
            <a:xfrm>
              <a:off x="600075" y="3327243"/>
              <a:ext cx="3172279" cy="339130"/>
              <a:chOff x="600075" y="3327243"/>
              <a:chExt cx="3172279" cy="339130"/>
            </a:xfrm>
          </p:grpSpPr>
          <p:sp>
            <p:nvSpPr>
              <p:cNvPr id="1033" name="Rectangle 1032"/>
              <p:cNvSpPr/>
              <p:nvPr/>
            </p:nvSpPr>
            <p:spPr bwMode="auto">
              <a:xfrm>
                <a:off x="600075" y="3327243"/>
                <a:ext cx="2348236"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Natural language parsing to identify intent</a:t>
                </a:r>
              </a:p>
              <a:p>
                <a:pPr marL="0" lvl="1" algn="r" defTabSz="914294">
                  <a:defRPr/>
                </a:pPr>
                <a:r>
                  <a:rPr lang="en-US" sz="1632" kern="0">
                    <a:solidFill>
                      <a:srgbClr val="0078D7"/>
                    </a:solidFill>
                    <a:latin typeface="Segoe UI"/>
                  </a:rPr>
                  <a:t>(translation when necessary)</a:t>
                </a:r>
              </a:p>
            </p:txBody>
          </p:sp>
          <p:cxnSp>
            <p:nvCxnSpPr>
              <p:cNvPr id="1034" name="Straight Connector 1033"/>
              <p:cNvCxnSpPr/>
              <p:nvPr/>
            </p:nvCxnSpPr>
            <p:spPr>
              <a:xfrm>
                <a:off x="3026569" y="3513092"/>
                <a:ext cx="745785"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39" name="Group 1038"/>
          <p:cNvGrpSpPr/>
          <p:nvPr/>
        </p:nvGrpSpPr>
        <p:grpSpPr>
          <a:xfrm>
            <a:off x="-11063307" y="3213414"/>
            <a:ext cx="4845334" cy="973118"/>
            <a:chOff x="427906" y="2245930"/>
            <a:chExt cx="3563069" cy="715593"/>
          </a:xfrm>
        </p:grpSpPr>
        <p:grpSp>
          <p:nvGrpSpPr>
            <p:cNvPr id="1040" name="Group 1039"/>
            <p:cNvGrpSpPr/>
            <p:nvPr/>
          </p:nvGrpSpPr>
          <p:grpSpPr>
            <a:xfrm>
              <a:off x="1114426" y="2245930"/>
              <a:ext cx="2857499" cy="339130"/>
              <a:chOff x="1114426" y="2245930"/>
              <a:chExt cx="2857499" cy="339130"/>
            </a:xfrm>
          </p:grpSpPr>
          <p:sp>
            <p:nvSpPr>
              <p:cNvPr id="1044" name="Rectangle 1043"/>
              <p:cNvSpPr/>
              <p:nvPr/>
            </p:nvSpPr>
            <p:spPr bwMode="auto">
              <a:xfrm>
                <a:off x="1114426" y="2245930"/>
                <a:ext cx="1833886"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Prompt with choice</a:t>
                </a:r>
              </a:p>
            </p:txBody>
          </p:sp>
          <p:cxnSp>
            <p:nvCxnSpPr>
              <p:cNvPr id="1045" name="Straight Connector 1044"/>
              <p:cNvCxnSpPr/>
              <p:nvPr/>
            </p:nvCxnSpPr>
            <p:spPr>
              <a:xfrm>
                <a:off x="3026569" y="2429782"/>
                <a:ext cx="945356"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41" name="Group 1040"/>
            <p:cNvGrpSpPr/>
            <p:nvPr/>
          </p:nvGrpSpPr>
          <p:grpSpPr>
            <a:xfrm>
              <a:off x="427906" y="2622393"/>
              <a:ext cx="3563069" cy="339130"/>
              <a:chOff x="427906" y="3327243"/>
              <a:chExt cx="3563069" cy="339130"/>
            </a:xfrm>
          </p:grpSpPr>
          <p:sp>
            <p:nvSpPr>
              <p:cNvPr id="1042" name="Rectangle 1041"/>
              <p:cNvSpPr/>
              <p:nvPr/>
            </p:nvSpPr>
            <p:spPr bwMode="auto">
              <a:xfrm>
                <a:off x="427906" y="3327243"/>
                <a:ext cx="2520405"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Integrate with Dynamics CRM to surface relevant suggestions</a:t>
                </a:r>
              </a:p>
            </p:txBody>
          </p:sp>
          <p:cxnSp>
            <p:nvCxnSpPr>
              <p:cNvPr id="1043" name="Straight Connector 1042"/>
              <p:cNvCxnSpPr/>
              <p:nvPr/>
            </p:nvCxnSpPr>
            <p:spPr>
              <a:xfrm>
                <a:off x="3026569" y="3513092"/>
                <a:ext cx="964406"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46" name="Freeform 29"/>
          <p:cNvSpPr>
            <a:spLocks/>
          </p:cNvSpPr>
          <p:nvPr/>
        </p:nvSpPr>
        <p:spPr bwMode="auto">
          <a:xfrm>
            <a:off x="-2278480" y="2695153"/>
            <a:ext cx="70630" cy="111680"/>
          </a:xfrm>
          <a:custGeom>
            <a:avLst/>
            <a:gdLst>
              <a:gd name="T0" fmla="*/ 937 w 1744"/>
              <a:gd name="T1" fmla="*/ 2504 h 2504"/>
              <a:gd name="T2" fmla="*/ 936 w 1744"/>
              <a:gd name="T3" fmla="*/ 2500 h 2504"/>
              <a:gd name="T4" fmla="*/ 871 w 1744"/>
              <a:gd name="T5" fmla="*/ 2412 h 2504"/>
              <a:gd name="T6" fmla="*/ 747 w 1744"/>
              <a:gd name="T7" fmla="*/ 2079 h 2504"/>
              <a:gd name="T8" fmla="*/ 629 w 1744"/>
              <a:gd name="T9" fmla="*/ 1759 h 2504"/>
              <a:gd name="T10" fmla="*/ 562 w 1744"/>
              <a:gd name="T11" fmla="*/ 1576 h 2504"/>
              <a:gd name="T12" fmla="*/ 543 w 1744"/>
              <a:gd name="T13" fmla="*/ 1570 h 2504"/>
              <a:gd name="T14" fmla="*/ 180 w 1744"/>
              <a:gd name="T15" fmla="*/ 1828 h 2504"/>
              <a:gd name="T16" fmla="*/ 109 w 1744"/>
              <a:gd name="T17" fmla="*/ 1870 h 2504"/>
              <a:gd name="T18" fmla="*/ 8 w 1744"/>
              <a:gd name="T19" fmla="*/ 1777 h 2504"/>
              <a:gd name="T20" fmla="*/ 34 w 1744"/>
              <a:gd name="T21" fmla="*/ 1623 h 2504"/>
              <a:gd name="T22" fmla="*/ 168 w 1744"/>
              <a:gd name="T23" fmla="*/ 868 h 2504"/>
              <a:gd name="T24" fmla="*/ 255 w 1744"/>
              <a:gd name="T25" fmla="*/ 372 h 2504"/>
              <a:gd name="T26" fmla="*/ 304 w 1744"/>
              <a:gd name="T27" fmla="*/ 89 h 2504"/>
              <a:gd name="T28" fmla="*/ 362 w 1744"/>
              <a:gd name="T29" fmla="*/ 5 h 2504"/>
              <a:gd name="T30" fmla="*/ 365 w 1744"/>
              <a:gd name="T31" fmla="*/ 0 h 2504"/>
              <a:gd name="T32" fmla="*/ 409 w 1744"/>
              <a:gd name="T33" fmla="*/ 0 h 2504"/>
              <a:gd name="T34" fmla="*/ 546 w 1744"/>
              <a:gd name="T35" fmla="*/ 115 h 2504"/>
              <a:gd name="T36" fmla="*/ 777 w 1744"/>
              <a:gd name="T37" fmla="*/ 330 h 2504"/>
              <a:gd name="T38" fmla="*/ 1000 w 1744"/>
              <a:gd name="T39" fmla="*/ 539 h 2504"/>
              <a:gd name="T40" fmla="*/ 1393 w 1744"/>
              <a:gd name="T41" fmla="*/ 904 h 2504"/>
              <a:gd name="T42" fmla="*/ 1702 w 1744"/>
              <a:gd name="T43" fmla="*/ 1193 h 2504"/>
              <a:gd name="T44" fmla="*/ 1731 w 1744"/>
              <a:gd name="T45" fmla="*/ 1300 h 2504"/>
              <a:gd name="T46" fmla="*/ 1667 w 1744"/>
              <a:gd name="T47" fmla="*/ 1347 h 2504"/>
              <a:gd name="T48" fmla="*/ 1569 w 1744"/>
              <a:gd name="T49" fmla="*/ 1352 h 2504"/>
              <a:gd name="T50" fmla="*/ 1165 w 1744"/>
              <a:gd name="T51" fmla="*/ 1363 h 2504"/>
              <a:gd name="T52" fmla="*/ 1153 w 1744"/>
              <a:gd name="T53" fmla="*/ 1380 h 2504"/>
              <a:gd name="T54" fmla="*/ 1385 w 1744"/>
              <a:gd name="T55" fmla="*/ 2009 h 2504"/>
              <a:gd name="T56" fmla="*/ 1471 w 1744"/>
              <a:gd name="T57" fmla="*/ 2241 h 2504"/>
              <a:gd name="T58" fmla="*/ 1416 w 1744"/>
              <a:gd name="T59" fmla="*/ 2356 h 2504"/>
              <a:gd name="T60" fmla="*/ 993 w 1744"/>
              <a:gd name="T61" fmla="*/ 2499 h 2504"/>
              <a:gd name="T62" fmla="*/ 985 w 1744"/>
              <a:gd name="T63" fmla="*/ 2504 h 2504"/>
              <a:gd name="T64" fmla="*/ 937 w 1744"/>
              <a:gd name="T65" fmla="*/ 2504 h 2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44" h="2504">
                <a:moveTo>
                  <a:pt x="937" y="2504"/>
                </a:moveTo>
                <a:cubicBezTo>
                  <a:pt x="937" y="2503"/>
                  <a:pt x="937" y="2500"/>
                  <a:pt x="936" y="2500"/>
                </a:cubicBezTo>
                <a:cubicBezTo>
                  <a:pt x="896" y="2484"/>
                  <a:pt x="884" y="2448"/>
                  <a:pt x="871" y="2412"/>
                </a:cubicBezTo>
                <a:cubicBezTo>
                  <a:pt x="830" y="2301"/>
                  <a:pt x="789" y="2190"/>
                  <a:pt x="747" y="2079"/>
                </a:cubicBezTo>
                <a:cubicBezTo>
                  <a:pt x="708" y="1973"/>
                  <a:pt x="669" y="1866"/>
                  <a:pt x="629" y="1759"/>
                </a:cubicBezTo>
                <a:cubicBezTo>
                  <a:pt x="607" y="1698"/>
                  <a:pt x="584" y="1637"/>
                  <a:pt x="562" y="1576"/>
                </a:cubicBezTo>
                <a:cubicBezTo>
                  <a:pt x="557" y="1564"/>
                  <a:pt x="554" y="1561"/>
                  <a:pt x="543" y="1570"/>
                </a:cubicBezTo>
                <a:cubicBezTo>
                  <a:pt x="422" y="1656"/>
                  <a:pt x="301" y="1742"/>
                  <a:pt x="180" y="1828"/>
                </a:cubicBezTo>
                <a:cubicBezTo>
                  <a:pt x="158" y="1844"/>
                  <a:pt x="137" y="1864"/>
                  <a:pt x="109" y="1870"/>
                </a:cubicBezTo>
                <a:cubicBezTo>
                  <a:pt x="49" y="1882"/>
                  <a:pt x="0" y="1838"/>
                  <a:pt x="8" y="1777"/>
                </a:cubicBezTo>
                <a:cubicBezTo>
                  <a:pt x="15" y="1726"/>
                  <a:pt x="25" y="1675"/>
                  <a:pt x="34" y="1623"/>
                </a:cubicBezTo>
                <a:cubicBezTo>
                  <a:pt x="79" y="1372"/>
                  <a:pt x="123" y="1120"/>
                  <a:pt x="168" y="868"/>
                </a:cubicBezTo>
                <a:cubicBezTo>
                  <a:pt x="197" y="703"/>
                  <a:pt x="226" y="537"/>
                  <a:pt x="255" y="372"/>
                </a:cubicBezTo>
                <a:cubicBezTo>
                  <a:pt x="271" y="278"/>
                  <a:pt x="288" y="183"/>
                  <a:pt x="304" y="89"/>
                </a:cubicBezTo>
                <a:cubicBezTo>
                  <a:pt x="310" y="51"/>
                  <a:pt x="325" y="20"/>
                  <a:pt x="362" y="5"/>
                </a:cubicBezTo>
                <a:cubicBezTo>
                  <a:pt x="363" y="4"/>
                  <a:pt x="364" y="1"/>
                  <a:pt x="365" y="0"/>
                </a:cubicBezTo>
                <a:cubicBezTo>
                  <a:pt x="380" y="0"/>
                  <a:pt x="394" y="0"/>
                  <a:pt x="409" y="0"/>
                </a:cubicBezTo>
                <a:cubicBezTo>
                  <a:pt x="464" y="27"/>
                  <a:pt x="502" y="75"/>
                  <a:pt x="546" y="115"/>
                </a:cubicBezTo>
                <a:cubicBezTo>
                  <a:pt x="624" y="186"/>
                  <a:pt x="700" y="258"/>
                  <a:pt x="777" y="330"/>
                </a:cubicBezTo>
                <a:cubicBezTo>
                  <a:pt x="852" y="400"/>
                  <a:pt x="926" y="469"/>
                  <a:pt x="1000" y="539"/>
                </a:cubicBezTo>
                <a:cubicBezTo>
                  <a:pt x="1131" y="661"/>
                  <a:pt x="1262" y="782"/>
                  <a:pt x="1393" y="904"/>
                </a:cubicBezTo>
                <a:cubicBezTo>
                  <a:pt x="1496" y="1001"/>
                  <a:pt x="1599" y="1097"/>
                  <a:pt x="1702" y="1193"/>
                </a:cubicBezTo>
                <a:cubicBezTo>
                  <a:pt x="1744" y="1232"/>
                  <a:pt x="1744" y="1270"/>
                  <a:pt x="1731" y="1300"/>
                </a:cubicBezTo>
                <a:cubicBezTo>
                  <a:pt x="1719" y="1328"/>
                  <a:pt x="1697" y="1345"/>
                  <a:pt x="1667" y="1347"/>
                </a:cubicBezTo>
                <a:cubicBezTo>
                  <a:pt x="1634" y="1350"/>
                  <a:pt x="1602" y="1351"/>
                  <a:pt x="1569" y="1352"/>
                </a:cubicBezTo>
                <a:cubicBezTo>
                  <a:pt x="1434" y="1355"/>
                  <a:pt x="1300" y="1359"/>
                  <a:pt x="1165" y="1363"/>
                </a:cubicBezTo>
                <a:cubicBezTo>
                  <a:pt x="1151" y="1363"/>
                  <a:pt x="1147" y="1365"/>
                  <a:pt x="1153" y="1380"/>
                </a:cubicBezTo>
                <a:cubicBezTo>
                  <a:pt x="1231" y="1590"/>
                  <a:pt x="1308" y="1799"/>
                  <a:pt x="1385" y="2009"/>
                </a:cubicBezTo>
                <a:cubicBezTo>
                  <a:pt x="1414" y="2086"/>
                  <a:pt x="1443" y="2163"/>
                  <a:pt x="1471" y="2241"/>
                </a:cubicBezTo>
                <a:cubicBezTo>
                  <a:pt x="1491" y="2293"/>
                  <a:pt x="1469" y="2339"/>
                  <a:pt x="1416" y="2356"/>
                </a:cubicBezTo>
                <a:cubicBezTo>
                  <a:pt x="1275" y="2404"/>
                  <a:pt x="1134" y="2451"/>
                  <a:pt x="993" y="2499"/>
                </a:cubicBezTo>
                <a:cubicBezTo>
                  <a:pt x="990" y="2500"/>
                  <a:pt x="986" y="2499"/>
                  <a:pt x="985" y="2504"/>
                </a:cubicBezTo>
                <a:cubicBezTo>
                  <a:pt x="969" y="2504"/>
                  <a:pt x="953" y="2504"/>
                  <a:pt x="937" y="2504"/>
                </a:cubicBezTo>
                <a:close/>
              </a:path>
            </a:pathLst>
          </a:custGeom>
          <a:solidFill>
            <a:schemeClr val="bg1"/>
          </a:solidFill>
          <a:ln w="3175">
            <a:solidFill>
              <a:schemeClr val="bg1">
                <a:lumMod val="50000"/>
              </a:schemeClr>
            </a:solidFill>
          </a:ln>
        </p:spPr>
        <p:txBody>
          <a:bodyPr vert="horz" wrap="square" lIns="124347" tIns="62174" rIns="124347" bIns="62174" numCol="1" anchor="t" anchorCtr="0" compatLnSpc="1">
            <a:prstTxWarp prst="textNoShape">
              <a:avLst/>
            </a:prstTxWarp>
          </a:bodyPr>
          <a:lstStyle/>
          <a:p>
            <a:pPr defTabSz="1243431">
              <a:defRPr/>
            </a:pPr>
            <a:endParaRPr lang="en-US" sz="2448" kern="0">
              <a:solidFill>
                <a:sysClr val="windowText" lastClr="000000"/>
              </a:solidFill>
              <a:latin typeface="Segoe UI"/>
            </a:endParaRPr>
          </a:p>
        </p:txBody>
      </p:sp>
      <p:grpSp>
        <p:nvGrpSpPr>
          <p:cNvPr id="1047" name="Group 1046"/>
          <p:cNvGrpSpPr/>
          <p:nvPr/>
        </p:nvGrpSpPr>
        <p:grpSpPr>
          <a:xfrm>
            <a:off x="-10829179" y="6082770"/>
            <a:ext cx="4225859" cy="461175"/>
            <a:chOff x="600075" y="4355943"/>
            <a:chExt cx="3107531" cy="339130"/>
          </a:xfrm>
        </p:grpSpPr>
        <p:sp>
          <p:nvSpPr>
            <p:cNvPr id="1048" name="Rectangle 1047"/>
            <p:cNvSpPr/>
            <p:nvPr/>
          </p:nvSpPr>
          <p:spPr bwMode="auto">
            <a:xfrm>
              <a:off x="600075" y="4355943"/>
              <a:ext cx="2193970"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Cognitive Services enable interaction through voice or text</a:t>
              </a:r>
            </a:p>
          </p:txBody>
        </p:sp>
        <p:cxnSp>
          <p:nvCxnSpPr>
            <p:cNvPr id="1049" name="Straight Connector 1048"/>
            <p:cNvCxnSpPr/>
            <p:nvPr/>
          </p:nvCxnSpPr>
          <p:spPr>
            <a:xfrm>
              <a:off x="2888203" y="4541792"/>
              <a:ext cx="819403"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50" name="Group 1049"/>
          <p:cNvGrpSpPr/>
          <p:nvPr/>
        </p:nvGrpSpPr>
        <p:grpSpPr>
          <a:xfrm>
            <a:off x="-10619394" y="2876640"/>
            <a:ext cx="4964476" cy="3667306"/>
            <a:chOff x="754342" y="1998280"/>
            <a:chExt cx="3650681" cy="2696793"/>
          </a:xfrm>
        </p:grpSpPr>
        <p:grpSp>
          <p:nvGrpSpPr>
            <p:cNvPr id="1051" name="Group 1050"/>
            <p:cNvGrpSpPr/>
            <p:nvPr/>
          </p:nvGrpSpPr>
          <p:grpSpPr>
            <a:xfrm>
              <a:off x="754342" y="1998280"/>
              <a:ext cx="3650681" cy="2696793"/>
              <a:chOff x="754342" y="1998280"/>
              <a:chExt cx="3650681" cy="2696793"/>
            </a:xfrm>
          </p:grpSpPr>
          <p:sp>
            <p:nvSpPr>
              <p:cNvPr id="1055" name="Rectangle 1054"/>
              <p:cNvSpPr/>
              <p:nvPr/>
            </p:nvSpPr>
            <p:spPr bwMode="auto">
              <a:xfrm>
                <a:off x="1114426" y="1998280"/>
                <a:ext cx="1833886"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Recognize images with Computer Vision</a:t>
                </a:r>
              </a:p>
            </p:txBody>
          </p:sp>
          <p:grpSp>
            <p:nvGrpSpPr>
              <p:cNvPr id="1056" name="Group 1055"/>
              <p:cNvGrpSpPr/>
              <p:nvPr/>
            </p:nvGrpSpPr>
            <p:grpSpPr>
              <a:xfrm>
                <a:off x="1124820" y="2889330"/>
                <a:ext cx="3280203" cy="1189920"/>
                <a:chOff x="1124820" y="3594180"/>
                <a:chExt cx="3280203" cy="1189920"/>
              </a:xfrm>
            </p:grpSpPr>
            <p:sp>
              <p:nvSpPr>
                <p:cNvPr id="1058" name="Rectangle 1057"/>
                <p:cNvSpPr/>
                <p:nvPr/>
              </p:nvSpPr>
              <p:spPr bwMode="auto">
                <a:xfrm>
                  <a:off x="1124820" y="3594180"/>
                  <a:ext cx="1823492"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Generate quotes based on smart insights</a:t>
                  </a:r>
                </a:p>
              </p:txBody>
            </p:sp>
            <p:cxnSp>
              <p:nvCxnSpPr>
                <p:cNvPr id="1059" name="Straight Connector 1058"/>
                <p:cNvCxnSpPr/>
                <p:nvPr/>
              </p:nvCxnSpPr>
              <p:spPr>
                <a:xfrm>
                  <a:off x="3057525" y="4614917"/>
                  <a:ext cx="1347498" cy="0"/>
                </a:xfrm>
                <a:prstGeom prst="line">
                  <a:avLst/>
                </a:pr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0" name="Rectangle 1059"/>
                <p:cNvSpPr/>
                <p:nvPr/>
              </p:nvSpPr>
              <p:spPr bwMode="auto">
                <a:xfrm>
                  <a:off x="1124820" y="4444970"/>
                  <a:ext cx="1823492"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Analyze sentiment</a:t>
                  </a:r>
                </a:p>
              </p:txBody>
            </p:sp>
          </p:grpSp>
          <p:sp>
            <p:nvSpPr>
              <p:cNvPr id="1057" name="Rectangle 1056"/>
              <p:cNvSpPr/>
              <p:nvPr/>
            </p:nvSpPr>
            <p:spPr bwMode="auto">
              <a:xfrm>
                <a:off x="754342" y="4355943"/>
                <a:ext cx="2193970" cy="3391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r" defTabSz="914294">
                  <a:defRPr/>
                </a:pPr>
                <a:r>
                  <a:rPr lang="en-US" sz="1632" kern="0">
                    <a:solidFill>
                      <a:srgbClr val="0078D7"/>
                    </a:solidFill>
                    <a:latin typeface="Segoe UI"/>
                  </a:rPr>
                  <a:t>Live agent handoff</a:t>
                </a:r>
              </a:p>
            </p:txBody>
          </p:sp>
        </p:grpSp>
        <p:sp>
          <p:nvSpPr>
            <p:cNvPr id="1052" name="Freeform: Shape 489"/>
            <p:cNvSpPr/>
            <p:nvPr/>
          </p:nvSpPr>
          <p:spPr bwMode="auto">
            <a:xfrm>
              <a:off x="3037398" y="2226365"/>
              <a:ext cx="898498" cy="993913"/>
            </a:xfrm>
            <a:custGeom>
              <a:avLst/>
              <a:gdLst>
                <a:gd name="connsiteX0" fmla="*/ 898498 w 898498"/>
                <a:gd name="connsiteY0" fmla="*/ 993913 h 993913"/>
                <a:gd name="connsiteX1" fmla="*/ 572494 w 898498"/>
                <a:gd name="connsiteY1" fmla="*/ 993913 h 993913"/>
                <a:gd name="connsiteX2" fmla="*/ 0 w 898498"/>
                <a:gd name="connsiteY2" fmla="*/ 0 h 993913"/>
              </a:gdLst>
              <a:ahLst/>
              <a:cxnLst>
                <a:cxn ang="0">
                  <a:pos x="connsiteX0" y="connsiteY0"/>
                </a:cxn>
                <a:cxn ang="0">
                  <a:pos x="connsiteX1" y="connsiteY1"/>
                </a:cxn>
                <a:cxn ang="0">
                  <a:pos x="connsiteX2" y="connsiteY2"/>
                </a:cxn>
              </a:cxnLst>
              <a:rect l="l" t="t" r="r" b="b"/>
              <a:pathLst>
                <a:path w="898498" h="993913">
                  <a:moveTo>
                    <a:pt x="898498" y="993913"/>
                  </a:moveTo>
                  <a:lnTo>
                    <a:pt x="572494" y="993913"/>
                  </a:lnTo>
                  <a:lnTo>
                    <a:pt x="0" y="0"/>
                  </a:lnTo>
                </a:path>
              </a:pathLst>
            </a:cu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3431">
                <a:defRPr/>
              </a:pPr>
              <a:endParaRPr lang="en-US" sz="2448" kern="0">
                <a:solidFill>
                  <a:sysClr val="windowText" lastClr="000000"/>
                </a:solidFill>
                <a:latin typeface="Segoe UI"/>
              </a:endParaRPr>
            </a:p>
          </p:txBody>
        </p:sp>
        <p:sp>
          <p:nvSpPr>
            <p:cNvPr id="1053" name="Freeform: Shape 490"/>
            <p:cNvSpPr/>
            <p:nvPr/>
          </p:nvSpPr>
          <p:spPr bwMode="auto">
            <a:xfrm>
              <a:off x="3037398" y="3077826"/>
              <a:ext cx="898498" cy="500261"/>
            </a:xfrm>
            <a:custGeom>
              <a:avLst/>
              <a:gdLst>
                <a:gd name="connsiteX0" fmla="*/ 898498 w 898498"/>
                <a:gd name="connsiteY0" fmla="*/ 993913 h 993913"/>
                <a:gd name="connsiteX1" fmla="*/ 572494 w 898498"/>
                <a:gd name="connsiteY1" fmla="*/ 993913 h 993913"/>
                <a:gd name="connsiteX2" fmla="*/ 0 w 898498"/>
                <a:gd name="connsiteY2" fmla="*/ 0 h 993913"/>
              </a:gdLst>
              <a:ahLst/>
              <a:cxnLst>
                <a:cxn ang="0">
                  <a:pos x="connsiteX0" y="connsiteY0"/>
                </a:cxn>
                <a:cxn ang="0">
                  <a:pos x="connsiteX1" y="connsiteY1"/>
                </a:cxn>
                <a:cxn ang="0">
                  <a:pos x="connsiteX2" y="connsiteY2"/>
                </a:cxn>
              </a:cxnLst>
              <a:rect l="l" t="t" r="r" b="b"/>
              <a:pathLst>
                <a:path w="898498" h="993913">
                  <a:moveTo>
                    <a:pt x="898498" y="993913"/>
                  </a:moveTo>
                  <a:lnTo>
                    <a:pt x="572494" y="993913"/>
                  </a:lnTo>
                  <a:lnTo>
                    <a:pt x="0" y="0"/>
                  </a:lnTo>
                </a:path>
              </a:pathLst>
            </a:cu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3431">
                <a:defRPr/>
              </a:pPr>
              <a:endParaRPr lang="en-US" sz="2448" kern="0">
                <a:solidFill>
                  <a:sysClr val="windowText" lastClr="000000"/>
                </a:solidFill>
                <a:latin typeface="Segoe UI"/>
              </a:endParaRPr>
            </a:p>
          </p:txBody>
        </p:sp>
        <p:sp>
          <p:nvSpPr>
            <p:cNvPr id="1054" name="Freeform: Shape 491"/>
            <p:cNvSpPr/>
            <p:nvPr/>
          </p:nvSpPr>
          <p:spPr bwMode="auto">
            <a:xfrm>
              <a:off x="3038476" y="4257675"/>
              <a:ext cx="914400" cy="304800"/>
            </a:xfrm>
            <a:custGeom>
              <a:avLst/>
              <a:gdLst>
                <a:gd name="connsiteX0" fmla="*/ 866775 w 866775"/>
                <a:gd name="connsiteY0" fmla="*/ 0 h 304800"/>
                <a:gd name="connsiteX1" fmla="*/ 323850 w 866775"/>
                <a:gd name="connsiteY1" fmla="*/ 0 h 304800"/>
                <a:gd name="connsiteX2" fmla="*/ 0 w 866775"/>
                <a:gd name="connsiteY2" fmla="*/ 304800 h 304800"/>
              </a:gdLst>
              <a:ahLst/>
              <a:cxnLst>
                <a:cxn ang="0">
                  <a:pos x="connsiteX0" y="connsiteY0"/>
                </a:cxn>
                <a:cxn ang="0">
                  <a:pos x="connsiteX1" y="connsiteY1"/>
                </a:cxn>
                <a:cxn ang="0">
                  <a:pos x="connsiteX2" y="connsiteY2"/>
                </a:cxn>
              </a:cxnLst>
              <a:rect l="l" t="t" r="r" b="b"/>
              <a:pathLst>
                <a:path w="866775" h="304800">
                  <a:moveTo>
                    <a:pt x="866775" y="0"/>
                  </a:moveTo>
                  <a:lnTo>
                    <a:pt x="323850" y="0"/>
                  </a:lnTo>
                  <a:lnTo>
                    <a:pt x="0" y="304800"/>
                  </a:lnTo>
                </a:path>
              </a:pathLst>
            </a:custGeom>
            <a:ln w="63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43431">
                <a:defRPr/>
              </a:pPr>
              <a:endParaRPr lang="en-US" sz="2448" kern="0">
                <a:solidFill>
                  <a:sysClr val="windowText" lastClr="000000"/>
                </a:solidFill>
                <a:latin typeface="Segoe UI"/>
              </a:endParaRPr>
            </a:p>
          </p:txBody>
        </p:sp>
      </p:grpSp>
      <p:sp>
        <p:nvSpPr>
          <p:cNvPr id="1062" name="Rectangle 1061"/>
          <p:cNvSpPr/>
          <p:nvPr/>
        </p:nvSpPr>
        <p:spPr bwMode="auto">
          <a:xfrm>
            <a:off x="-1235251" y="6990830"/>
            <a:ext cx="13108258" cy="97041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kern="0">
              <a:solidFill>
                <a:srgbClr val="505050"/>
              </a:solidFill>
              <a:latin typeface="Segoe UI"/>
              <a:ea typeface="Segoe UI" pitchFamily="34" charset="0"/>
              <a:cs typeface="Segoe UI" pitchFamily="34" charset="0"/>
            </a:endParaRPr>
          </a:p>
        </p:txBody>
      </p:sp>
      <p:sp>
        <p:nvSpPr>
          <p:cNvPr id="581" name="Rectangle 580"/>
          <p:cNvSpPr/>
          <p:nvPr/>
        </p:nvSpPr>
        <p:spPr bwMode="auto">
          <a:xfrm>
            <a:off x="883" y="496"/>
            <a:ext cx="12434711" cy="15877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75482" y="295731"/>
            <a:ext cx="11887878" cy="917444"/>
          </a:xfrm>
        </p:spPr>
        <p:txBody>
          <a:bodyPr/>
          <a:lstStyle/>
          <a:p>
            <a:pPr lvl="0">
              <a:defRPr/>
            </a:pPr>
            <a:r>
              <a:rPr lang="en-US" sz="4284">
                <a:gradFill>
                  <a:gsLst>
                    <a:gs pos="1250">
                      <a:schemeClr val="bg1"/>
                    </a:gs>
                    <a:gs pos="100000">
                      <a:schemeClr val="bg1"/>
                    </a:gs>
                  </a:gsLst>
                  <a:lin ang="5400000" scaled="0"/>
                </a:gradFill>
              </a:rPr>
              <a:t>Learn and engage with artificial intelligence</a:t>
            </a:r>
          </a:p>
        </p:txBody>
      </p:sp>
      <p:sp>
        <p:nvSpPr>
          <p:cNvPr id="81" name="Freeform 12"/>
          <p:cNvSpPr>
            <a:spLocks noChangeAspect="1" noEditPoints="1"/>
          </p:cNvSpPr>
          <p:nvPr/>
        </p:nvSpPr>
        <p:spPr bwMode="auto">
          <a:xfrm>
            <a:off x="10829309" y="244005"/>
            <a:ext cx="419763" cy="695173"/>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cxnSp>
        <p:nvCxnSpPr>
          <p:cNvPr id="246" name="Straight Connector 245"/>
          <p:cNvCxnSpPr/>
          <p:nvPr/>
        </p:nvCxnSpPr>
        <p:spPr>
          <a:xfrm>
            <a:off x="8581879" y="3566684"/>
            <a:ext cx="253419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8581879" y="4849014"/>
            <a:ext cx="253419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8" name="Rectangle 247"/>
          <p:cNvSpPr/>
          <p:nvPr/>
        </p:nvSpPr>
        <p:spPr>
          <a:xfrm>
            <a:off x="9650735" y="959212"/>
            <a:ext cx="2776910" cy="698790"/>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Data-Driven Intelligence</a:t>
            </a:r>
          </a:p>
          <a:p>
            <a:pPr algn="ctr" defTabSz="932330">
              <a:lnSpc>
                <a:spcPct val="90000"/>
              </a:lnSpc>
              <a:defRPr/>
            </a:pPr>
            <a:endParaRPr lang="en-US" sz="1428" b="1" kern="0" dirty="0">
              <a:ln w="3175">
                <a:noFill/>
              </a:ln>
              <a:solidFill>
                <a:srgbClr val="FFFFFF"/>
              </a:solidFill>
              <a:latin typeface="Segoe UI"/>
              <a:cs typeface="Segoe UI" pitchFamily="34" charset="0"/>
            </a:endParaRPr>
          </a:p>
        </p:txBody>
      </p:sp>
    </p:spTree>
    <p:extLst>
      <p:ext uri="{BB962C8B-B14F-4D97-AF65-F5344CB8AC3E}">
        <p14:creationId xmlns:p14="http://schemas.microsoft.com/office/powerpoint/2010/main" val="41816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decel="100000" fill="hold" nodeType="clickEffect">
                                  <p:stCondLst>
                                    <p:cond delay="0"/>
                                  </p:stCondLst>
                                  <p:childTnLst>
                                    <p:animMotion origin="layout" path="M -4.72222E-6 -4.93827E-7 L -4.72222E-6 -0.49383 " pathEditMode="relative" rAng="0" ptsTypes="AA">
                                      <p:cBhvr>
                                        <p:cTn id="6" dur="500" fill="hold"/>
                                        <p:tgtEl>
                                          <p:spTgt spid="823"/>
                                        </p:tgtEl>
                                        <p:attrNameLst>
                                          <p:attrName>ppt_x</p:attrName>
                                          <p:attrName>ppt_y</p:attrName>
                                        </p:attrNameLst>
                                      </p:cBhvr>
                                      <p:rCtr x="0" y="-24691"/>
                                    </p:animMotion>
                                  </p:childTnLst>
                                </p:cTn>
                              </p:par>
                            </p:childTnLst>
                          </p:cTn>
                        </p:par>
                        <p:par>
                          <p:cTn id="7" fill="hold">
                            <p:stCondLst>
                              <p:cond delay="500"/>
                            </p:stCondLst>
                            <p:childTnLst>
                              <p:par>
                                <p:cTn id="8" presetID="10" presetClass="entr" presetSubtype="0" fill="hold" nodeType="afterEffect">
                                  <p:stCondLst>
                                    <p:cond delay="50"/>
                                  </p:stCondLst>
                                  <p:childTnLst>
                                    <p:set>
                                      <p:cBhvr>
                                        <p:cTn id="9" dur="1" fill="hold">
                                          <p:stCondLst>
                                            <p:cond delay="0"/>
                                          </p:stCondLst>
                                        </p:cTn>
                                        <p:tgtEl>
                                          <p:spTgt spid="1029"/>
                                        </p:tgtEl>
                                        <p:attrNameLst>
                                          <p:attrName>style.visibility</p:attrName>
                                        </p:attrNameLst>
                                      </p:cBhvr>
                                      <p:to>
                                        <p:strVal val="visible"/>
                                      </p:to>
                                    </p:set>
                                    <p:animEffect transition="in" filter="fade">
                                      <p:cBhvr>
                                        <p:cTn id="10" dur="500"/>
                                        <p:tgtEl>
                                          <p:spTgt spid="1029"/>
                                        </p:tgtEl>
                                      </p:cBhvr>
                                    </p:animEffect>
                                  </p:childTnLst>
                                </p:cTn>
                              </p:par>
                              <p:par>
                                <p:cTn id="11" presetID="63" presetClass="path" presetSubtype="0" accel="50000" decel="50000" fill="hold" nodeType="withEffect">
                                  <p:stCondLst>
                                    <p:cond delay="0"/>
                                  </p:stCondLst>
                                  <p:childTnLst>
                                    <p:animMotion origin="layout" path="M -2.77778E-6 2.71605E-6 L 0.93455 -0.00062 " pathEditMode="relative" rAng="0" ptsTypes="AA">
                                      <p:cBhvr>
                                        <p:cTn id="12" dur="50" fill="hold"/>
                                        <p:tgtEl>
                                          <p:spTgt spid="1029"/>
                                        </p:tgtEl>
                                        <p:attrNameLst>
                                          <p:attrName>ppt_x</p:attrName>
                                          <p:attrName>ppt_y</p:attrName>
                                        </p:attrNameLst>
                                      </p:cBhvr>
                                      <p:rCtr x="46719" y="-31"/>
                                    </p:animMotion>
                                  </p:childTnLst>
                                </p:cTn>
                              </p:par>
                            </p:childTnLst>
                          </p:cTn>
                        </p:par>
                        <p:par>
                          <p:cTn id="13" fill="hold">
                            <p:stCondLst>
                              <p:cond delay="1050"/>
                            </p:stCondLst>
                            <p:childTnLst>
                              <p:par>
                                <p:cTn id="14" presetID="10" presetClass="entr" presetSubtype="0" fill="hold" grpId="0" nodeType="afterEffect">
                                  <p:stCondLst>
                                    <p:cond delay="0"/>
                                  </p:stCondLst>
                                  <p:childTnLst>
                                    <p:set>
                                      <p:cBhvr>
                                        <p:cTn id="15" dur="1" fill="hold">
                                          <p:stCondLst>
                                            <p:cond delay="0"/>
                                          </p:stCondLst>
                                        </p:cTn>
                                        <p:tgtEl>
                                          <p:spTgt spid="1019"/>
                                        </p:tgtEl>
                                        <p:attrNameLst>
                                          <p:attrName>style.visibility</p:attrName>
                                        </p:attrNameLst>
                                      </p:cBhvr>
                                      <p:to>
                                        <p:strVal val="visible"/>
                                      </p:to>
                                    </p:set>
                                    <p:animEffect transition="in" filter="fade">
                                      <p:cBhvr>
                                        <p:cTn id="16" dur="500"/>
                                        <p:tgtEl>
                                          <p:spTgt spid="1019"/>
                                        </p:tgtEl>
                                      </p:cBhvr>
                                    </p:animEffect>
                                  </p:childTnLst>
                                </p:cTn>
                              </p:par>
                            </p:childTnLst>
                          </p:cTn>
                        </p:par>
                      </p:childTnLst>
                    </p:cTn>
                  </p:par>
                  <p:par>
                    <p:cTn id="17" fill="hold">
                      <p:stCondLst>
                        <p:cond delay="indefinite"/>
                      </p:stCondLst>
                      <p:childTnLst>
                        <p:par>
                          <p:cTn id="18" fill="hold">
                            <p:stCondLst>
                              <p:cond delay="0"/>
                            </p:stCondLst>
                            <p:childTnLst>
                              <p:par>
                                <p:cTn id="19" presetID="64" presetClass="path" presetSubtype="0" decel="100000" fill="hold" nodeType="clickEffect">
                                  <p:stCondLst>
                                    <p:cond delay="0"/>
                                  </p:stCondLst>
                                  <p:childTnLst>
                                    <p:animMotion origin="layout" path="M -4.72222E-6 -0.49383 L -4.72222E-6 -1.03735 " pathEditMode="relative" rAng="0" ptsTypes="AA">
                                      <p:cBhvr>
                                        <p:cTn id="20" dur="500" fill="hold"/>
                                        <p:tgtEl>
                                          <p:spTgt spid="823"/>
                                        </p:tgtEl>
                                        <p:attrNameLst>
                                          <p:attrName>ppt_x</p:attrName>
                                          <p:attrName>ppt_y</p:attrName>
                                        </p:attrNameLst>
                                      </p:cBhvr>
                                      <p:rCtr x="0" y="-27191"/>
                                    </p:animMotion>
                                  </p:childTnLst>
                                </p:cTn>
                              </p:par>
                              <p:par>
                                <p:cTn id="21" presetID="10" presetClass="exit" presetSubtype="0" fill="hold" nodeType="withEffect">
                                  <p:stCondLst>
                                    <p:cond delay="0"/>
                                  </p:stCondLst>
                                  <p:childTnLst>
                                    <p:animEffect transition="out" filter="fade">
                                      <p:cBhvr>
                                        <p:cTn id="22" dur="300"/>
                                        <p:tgtEl>
                                          <p:spTgt spid="1029"/>
                                        </p:tgtEl>
                                      </p:cBhvr>
                                    </p:animEffect>
                                    <p:set>
                                      <p:cBhvr>
                                        <p:cTn id="23" dur="1" fill="hold">
                                          <p:stCondLst>
                                            <p:cond delay="299"/>
                                          </p:stCondLst>
                                        </p:cTn>
                                        <p:tgtEl>
                                          <p:spTgt spid="1029"/>
                                        </p:tgtEl>
                                        <p:attrNameLst>
                                          <p:attrName>style.visibility</p:attrName>
                                        </p:attrNameLst>
                                      </p:cBhvr>
                                      <p:to>
                                        <p:strVal val="hidden"/>
                                      </p:to>
                                    </p:set>
                                  </p:childTnLst>
                                </p:cTn>
                              </p:par>
                              <p:par>
                                <p:cTn id="24" presetID="64" presetClass="path" presetSubtype="0" decel="100000" fill="hold" nodeType="withEffect">
                                  <p:stCondLst>
                                    <p:cond delay="0"/>
                                  </p:stCondLst>
                                  <p:childTnLst>
                                    <p:animMotion origin="layout" path="M 0.93455 -0.00062 L 0.93455 -0.0679 " pathEditMode="relative" rAng="0" ptsTypes="AA">
                                      <p:cBhvr>
                                        <p:cTn id="25" dur="300" fill="hold"/>
                                        <p:tgtEl>
                                          <p:spTgt spid="1029"/>
                                        </p:tgtEl>
                                        <p:attrNameLst>
                                          <p:attrName>ppt_x</p:attrName>
                                          <p:attrName>ppt_y</p:attrName>
                                        </p:attrNameLst>
                                      </p:cBhvr>
                                      <p:rCtr x="0" y="-3364"/>
                                    </p:animMotion>
                                  </p:childTnLst>
                                </p:cTn>
                              </p:par>
                            </p:childTnLst>
                          </p:cTn>
                        </p:par>
                        <p:par>
                          <p:cTn id="26" fill="hold">
                            <p:stCondLst>
                              <p:cond delay="500"/>
                            </p:stCondLst>
                            <p:childTnLst>
                              <p:par>
                                <p:cTn id="27" presetID="10" presetClass="entr" presetSubtype="0" fill="hold" nodeType="afterEffect">
                                  <p:stCondLst>
                                    <p:cond delay="50"/>
                                  </p:stCondLst>
                                  <p:childTnLst>
                                    <p:set>
                                      <p:cBhvr>
                                        <p:cTn id="28" dur="1" fill="hold">
                                          <p:stCondLst>
                                            <p:cond delay="0"/>
                                          </p:stCondLst>
                                        </p:cTn>
                                        <p:tgtEl>
                                          <p:spTgt spid="1039"/>
                                        </p:tgtEl>
                                        <p:attrNameLst>
                                          <p:attrName>style.visibility</p:attrName>
                                        </p:attrNameLst>
                                      </p:cBhvr>
                                      <p:to>
                                        <p:strVal val="visible"/>
                                      </p:to>
                                    </p:set>
                                    <p:animEffect transition="in" filter="fade">
                                      <p:cBhvr>
                                        <p:cTn id="29" dur="500"/>
                                        <p:tgtEl>
                                          <p:spTgt spid="1039"/>
                                        </p:tgtEl>
                                      </p:cBhvr>
                                    </p:animEffect>
                                  </p:childTnLst>
                                </p:cTn>
                              </p:par>
                              <p:par>
                                <p:cTn id="30" presetID="10" presetClass="entr" presetSubtype="0" fill="hold" nodeType="withEffect">
                                  <p:stCondLst>
                                    <p:cond delay="50"/>
                                  </p:stCondLst>
                                  <p:childTnLst>
                                    <p:set>
                                      <p:cBhvr>
                                        <p:cTn id="31" dur="1" fill="hold">
                                          <p:stCondLst>
                                            <p:cond delay="0"/>
                                          </p:stCondLst>
                                        </p:cTn>
                                        <p:tgtEl>
                                          <p:spTgt spid="1047"/>
                                        </p:tgtEl>
                                        <p:attrNameLst>
                                          <p:attrName>style.visibility</p:attrName>
                                        </p:attrNameLst>
                                      </p:cBhvr>
                                      <p:to>
                                        <p:strVal val="visible"/>
                                      </p:to>
                                    </p:set>
                                    <p:animEffect transition="in" filter="fade">
                                      <p:cBhvr>
                                        <p:cTn id="32" dur="500"/>
                                        <p:tgtEl>
                                          <p:spTgt spid="1047"/>
                                        </p:tgtEl>
                                      </p:cBhvr>
                                    </p:animEffect>
                                  </p:childTnLst>
                                </p:cTn>
                              </p:par>
                              <p:par>
                                <p:cTn id="33" presetID="63" presetClass="path" presetSubtype="0" accel="50000" decel="50000" fill="hold" nodeType="withEffect">
                                  <p:stCondLst>
                                    <p:cond delay="0"/>
                                  </p:stCondLst>
                                  <p:childTnLst>
                                    <p:animMotion origin="layout" path="M 1.66667E-6 -2.83951E-6 L 0.93229 -2.83951E-6 " pathEditMode="relative" rAng="0" ptsTypes="AA">
                                      <p:cBhvr>
                                        <p:cTn id="34" dur="50" fill="hold"/>
                                        <p:tgtEl>
                                          <p:spTgt spid="1039"/>
                                        </p:tgtEl>
                                        <p:attrNameLst>
                                          <p:attrName>ppt_x</p:attrName>
                                          <p:attrName>ppt_y</p:attrName>
                                        </p:attrNameLst>
                                      </p:cBhvr>
                                      <p:rCtr x="46615" y="0"/>
                                    </p:animMotion>
                                  </p:childTnLst>
                                </p:cTn>
                              </p:par>
                              <p:par>
                                <p:cTn id="35" presetID="63" presetClass="path" presetSubtype="0" accel="50000" decel="50000" fill="hold" nodeType="withEffect">
                                  <p:stCondLst>
                                    <p:cond delay="0"/>
                                  </p:stCondLst>
                                  <p:childTnLst>
                                    <p:animMotion origin="layout" path="M -1.94444E-6 1.7284E-6 L 0.96111 1.7284E-6 " pathEditMode="relative" rAng="0" ptsTypes="AA">
                                      <p:cBhvr>
                                        <p:cTn id="36" dur="50" fill="hold"/>
                                        <p:tgtEl>
                                          <p:spTgt spid="1047"/>
                                        </p:tgtEl>
                                        <p:attrNameLst>
                                          <p:attrName>ppt_x</p:attrName>
                                          <p:attrName>ppt_y</p:attrName>
                                        </p:attrNameLst>
                                      </p:cBhvr>
                                      <p:rCtr x="48056" y="0"/>
                                    </p:animMotion>
                                  </p:childTnLst>
                                </p:cTn>
                              </p:par>
                              <p:par>
                                <p:cTn id="37" presetID="10" presetClass="entr" presetSubtype="0" fill="hold" grpId="0" nodeType="withEffect">
                                  <p:stCondLst>
                                    <p:cond delay="300"/>
                                  </p:stCondLst>
                                  <p:childTnLst>
                                    <p:set>
                                      <p:cBhvr>
                                        <p:cTn id="38" dur="1" fill="hold">
                                          <p:stCondLst>
                                            <p:cond delay="0"/>
                                          </p:stCondLst>
                                        </p:cTn>
                                        <p:tgtEl>
                                          <p:spTgt spid="1046"/>
                                        </p:tgtEl>
                                        <p:attrNameLst>
                                          <p:attrName>style.visibility</p:attrName>
                                        </p:attrNameLst>
                                      </p:cBhvr>
                                      <p:to>
                                        <p:strVal val="visible"/>
                                      </p:to>
                                    </p:set>
                                    <p:animEffect transition="in" filter="fade">
                                      <p:cBhvr>
                                        <p:cTn id="39" dur="200"/>
                                        <p:tgtEl>
                                          <p:spTgt spid="1046"/>
                                        </p:tgtEl>
                                      </p:cBhvr>
                                    </p:animEffect>
                                  </p:childTnLst>
                                </p:cTn>
                              </p:par>
                              <p:par>
                                <p:cTn id="40" presetID="0" presetClass="path" presetSubtype="0" decel="100000" fill="hold" grpId="1" nodeType="withEffect">
                                  <p:stCondLst>
                                    <p:cond delay="300"/>
                                  </p:stCondLst>
                                  <p:childTnLst>
                                    <p:animMotion origin="layout" path="M 0.7526 -0.00494 L 0.7526 -0.00463 C 0.70364 0.02469 0.65486 0.11111 0.70677 0.2358 " pathEditMode="relative" rAng="0" ptsTypes="AAA">
                                      <p:cBhvr>
                                        <p:cTn id="41" dur="1000" fill="hold"/>
                                        <p:tgtEl>
                                          <p:spTgt spid="1046"/>
                                        </p:tgtEl>
                                        <p:attrNameLst>
                                          <p:attrName>ppt_x</p:attrName>
                                          <p:attrName>ppt_y</p:attrName>
                                        </p:attrNameLst>
                                      </p:cBhvr>
                                      <p:rCtr x="-3420" y="12037"/>
                                    </p:animMotion>
                                  </p:childTnLst>
                                </p:cTn>
                              </p:par>
                              <p:par>
                                <p:cTn id="42" presetID="10" presetClass="entr" presetSubtype="0" fill="hold" grpId="0" nodeType="withEffect">
                                  <p:stCondLst>
                                    <p:cond delay="50"/>
                                  </p:stCondLst>
                                  <p:childTnLst>
                                    <p:set>
                                      <p:cBhvr>
                                        <p:cTn id="43" dur="1" fill="hold">
                                          <p:stCondLst>
                                            <p:cond delay="0"/>
                                          </p:stCondLst>
                                        </p:cTn>
                                        <p:tgtEl>
                                          <p:spTgt spid="1018"/>
                                        </p:tgtEl>
                                        <p:attrNameLst>
                                          <p:attrName>style.visibility</p:attrName>
                                        </p:attrNameLst>
                                      </p:cBhvr>
                                      <p:to>
                                        <p:strVal val="visible"/>
                                      </p:to>
                                    </p:set>
                                    <p:animEffect transition="in" filter="fade">
                                      <p:cBhvr>
                                        <p:cTn id="44" dur="200"/>
                                        <p:tgtEl>
                                          <p:spTgt spid="1018"/>
                                        </p:tgtEl>
                                      </p:cBhvr>
                                    </p:animEffect>
                                  </p:childTnLst>
                                </p:cTn>
                              </p:par>
                              <p:par>
                                <p:cTn id="45" presetID="35" presetClass="path" presetSubtype="0" decel="100000" fill="hold" grpId="0" nodeType="withEffect">
                                  <p:stCondLst>
                                    <p:cond delay="50"/>
                                  </p:stCondLst>
                                  <p:childTnLst>
                                    <p:animMotion origin="layout" path="M -4.16667E-6 -2.46914E-6 L -0.01614 -2.46914E-6 " pathEditMode="relative" rAng="0" ptsTypes="AA">
                                      <p:cBhvr>
                                        <p:cTn id="46" dur="200" fill="hold"/>
                                        <p:tgtEl>
                                          <p:spTgt spid="1017"/>
                                        </p:tgtEl>
                                        <p:attrNameLst>
                                          <p:attrName>ppt_x</p:attrName>
                                          <p:attrName>ppt_y</p:attrName>
                                        </p:attrNameLst>
                                      </p:cBhvr>
                                      <p:rCtr x="-816" y="0"/>
                                    </p:animMotion>
                                  </p:childTnLst>
                                </p:cTn>
                              </p:par>
                              <p:par>
                                <p:cTn id="47" presetID="63" presetClass="path" presetSubtype="0" accel="50000" decel="50000" fill="hold" grpId="1" nodeType="withEffect">
                                  <p:stCondLst>
                                    <p:cond delay="0"/>
                                  </p:stCondLst>
                                  <p:childTnLst>
                                    <p:animMotion origin="layout" path="M -5E-6 3.45679E-6 L 0.71198 0.00093 " pathEditMode="relative" rAng="0" ptsTypes="AA">
                                      <p:cBhvr>
                                        <p:cTn id="48" dur="50" fill="hold"/>
                                        <p:tgtEl>
                                          <p:spTgt spid="1018"/>
                                        </p:tgtEl>
                                        <p:attrNameLst>
                                          <p:attrName>ppt_x</p:attrName>
                                          <p:attrName>ppt_y</p:attrName>
                                        </p:attrNameLst>
                                      </p:cBhvr>
                                      <p:rCtr x="35729" y="0"/>
                                    </p:animMotion>
                                  </p:childTnLst>
                                </p:cTn>
                              </p:par>
                            </p:childTnLst>
                          </p:cTn>
                        </p:par>
                        <p:par>
                          <p:cTn id="49" fill="hold">
                            <p:stCondLst>
                              <p:cond delay="1800"/>
                            </p:stCondLst>
                            <p:childTnLst>
                              <p:par>
                                <p:cTn id="50" presetID="10" presetClass="entr" presetSubtype="0" fill="hold" grpId="0" nodeType="afterEffect">
                                  <p:stCondLst>
                                    <p:cond delay="0"/>
                                  </p:stCondLst>
                                  <p:childTnLst>
                                    <p:set>
                                      <p:cBhvr>
                                        <p:cTn id="51" dur="1" fill="hold">
                                          <p:stCondLst>
                                            <p:cond delay="0"/>
                                          </p:stCondLst>
                                        </p:cTn>
                                        <p:tgtEl>
                                          <p:spTgt spid="1020"/>
                                        </p:tgtEl>
                                        <p:attrNameLst>
                                          <p:attrName>style.visibility</p:attrName>
                                        </p:attrNameLst>
                                      </p:cBhvr>
                                      <p:to>
                                        <p:strVal val="visible"/>
                                      </p:to>
                                    </p:set>
                                    <p:animEffect transition="in" filter="fade">
                                      <p:cBhvr>
                                        <p:cTn id="52" dur="500"/>
                                        <p:tgtEl>
                                          <p:spTgt spid="1020"/>
                                        </p:tgtEl>
                                      </p:cBhvr>
                                    </p:animEffect>
                                  </p:childTnLst>
                                </p:cTn>
                              </p:par>
                              <p:par>
                                <p:cTn id="53" presetID="16" presetClass="entr" presetSubtype="37" fill="hold" nodeType="withEffect">
                                  <p:stCondLst>
                                    <p:cond delay="0"/>
                                  </p:stCondLst>
                                  <p:childTnLst>
                                    <p:set>
                                      <p:cBhvr>
                                        <p:cTn id="54" dur="1" fill="hold">
                                          <p:stCondLst>
                                            <p:cond delay="0"/>
                                          </p:stCondLst>
                                        </p:cTn>
                                        <p:tgtEl>
                                          <p:spTgt spid="246"/>
                                        </p:tgtEl>
                                        <p:attrNameLst>
                                          <p:attrName>style.visibility</p:attrName>
                                        </p:attrNameLst>
                                      </p:cBhvr>
                                      <p:to>
                                        <p:strVal val="visible"/>
                                      </p:to>
                                    </p:set>
                                    <p:animEffect transition="in" filter="barn(outVertical)">
                                      <p:cBhvr>
                                        <p:cTn id="55" dur="500"/>
                                        <p:tgtEl>
                                          <p:spTgt spid="246"/>
                                        </p:tgtEl>
                                      </p:cBhvr>
                                    </p:animEffect>
                                  </p:childTnLst>
                                </p:cTn>
                              </p:par>
                            </p:childTnLst>
                          </p:cTn>
                        </p:par>
                      </p:childTnLst>
                    </p:cTn>
                  </p:par>
                  <p:par>
                    <p:cTn id="56" fill="hold">
                      <p:stCondLst>
                        <p:cond delay="indefinite"/>
                      </p:stCondLst>
                      <p:childTnLst>
                        <p:par>
                          <p:cTn id="57" fill="hold">
                            <p:stCondLst>
                              <p:cond delay="0"/>
                            </p:stCondLst>
                            <p:childTnLst>
                              <p:par>
                                <p:cTn id="58" presetID="64" presetClass="path" presetSubtype="0" decel="100000" fill="hold" nodeType="clickEffect">
                                  <p:stCondLst>
                                    <p:cond delay="0"/>
                                  </p:stCondLst>
                                  <p:childTnLst>
                                    <p:animMotion origin="layout" path="M -4.72222E-6 -1.03735 L -4.72222E-6 -1.53117 " pathEditMode="relative" rAng="0" ptsTypes="AA">
                                      <p:cBhvr>
                                        <p:cTn id="59" dur="500" fill="hold"/>
                                        <p:tgtEl>
                                          <p:spTgt spid="823"/>
                                        </p:tgtEl>
                                        <p:attrNameLst>
                                          <p:attrName>ppt_x</p:attrName>
                                          <p:attrName>ppt_y</p:attrName>
                                        </p:attrNameLst>
                                      </p:cBhvr>
                                      <p:rCtr x="0" y="-24691"/>
                                    </p:animMotion>
                                  </p:childTnLst>
                                </p:cTn>
                              </p:par>
                              <p:par>
                                <p:cTn id="60" presetID="10" presetClass="exit" presetSubtype="0" fill="hold" grpId="2" nodeType="withEffect">
                                  <p:stCondLst>
                                    <p:cond delay="0"/>
                                  </p:stCondLst>
                                  <p:childTnLst>
                                    <p:animEffect transition="out" filter="fade">
                                      <p:cBhvr>
                                        <p:cTn id="61" dur="500"/>
                                        <p:tgtEl>
                                          <p:spTgt spid="1046"/>
                                        </p:tgtEl>
                                      </p:cBhvr>
                                    </p:animEffect>
                                    <p:set>
                                      <p:cBhvr>
                                        <p:cTn id="62" dur="1" fill="hold">
                                          <p:stCondLst>
                                            <p:cond delay="499"/>
                                          </p:stCondLst>
                                        </p:cTn>
                                        <p:tgtEl>
                                          <p:spTgt spid="1046"/>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300"/>
                                        <p:tgtEl>
                                          <p:spTgt spid="1039"/>
                                        </p:tgtEl>
                                      </p:cBhvr>
                                    </p:animEffect>
                                    <p:set>
                                      <p:cBhvr>
                                        <p:cTn id="65" dur="1" fill="hold">
                                          <p:stCondLst>
                                            <p:cond delay="299"/>
                                          </p:stCondLst>
                                        </p:cTn>
                                        <p:tgtEl>
                                          <p:spTgt spid="1039"/>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300"/>
                                        <p:tgtEl>
                                          <p:spTgt spid="1047"/>
                                        </p:tgtEl>
                                      </p:cBhvr>
                                    </p:animEffect>
                                    <p:set>
                                      <p:cBhvr>
                                        <p:cTn id="68" dur="1" fill="hold">
                                          <p:stCondLst>
                                            <p:cond delay="299"/>
                                          </p:stCondLst>
                                        </p:cTn>
                                        <p:tgtEl>
                                          <p:spTgt spid="1047"/>
                                        </p:tgtEl>
                                        <p:attrNameLst>
                                          <p:attrName>style.visibility</p:attrName>
                                        </p:attrNameLst>
                                      </p:cBhvr>
                                      <p:to>
                                        <p:strVal val="hidden"/>
                                      </p:to>
                                    </p:set>
                                  </p:childTnLst>
                                </p:cTn>
                              </p:par>
                              <p:par>
                                <p:cTn id="69" presetID="64" presetClass="path" presetSubtype="0" decel="100000" fill="hold" nodeType="withEffect">
                                  <p:stCondLst>
                                    <p:cond delay="0"/>
                                  </p:stCondLst>
                                  <p:childTnLst>
                                    <p:animMotion origin="layout" path="M 0.93229 -2.83951E-6 L 0.9309 -0.10617 " pathEditMode="relative" rAng="0" ptsTypes="AA">
                                      <p:cBhvr>
                                        <p:cTn id="70" dur="300" fill="hold"/>
                                        <p:tgtEl>
                                          <p:spTgt spid="1039"/>
                                        </p:tgtEl>
                                        <p:attrNameLst>
                                          <p:attrName>ppt_x</p:attrName>
                                          <p:attrName>ppt_y</p:attrName>
                                        </p:attrNameLst>
                                      </p:cBhvr>
                                      <p:rCtr x="-69" y="-5309"/>
                                    </p:animMotion>
                                  </p:childTnLst>
                                </p:cTn>
                              </p:par>
                              <p:par>
                                <p:cTn id="71" presetID="64" presetClass="path" presetSubtype="0" decel="100000" fill="hold" nodeType="withEffect">
                                  <p:stCondLst>
                                    <p:cond delay="0"/>
                                  </p:stCondLst>
                                  <p:childTnLst>
                                    <p:animMotion origin="layout" path="M 0.96111 1.7284E-6 L 0.96198 -0.08735 " pathEditMode="relative" rAng="0" ptsTypes="AA">
                                      <p:cBhvr>
                                        <p:cTn id="72" dur="200" fill="hold"/>
                                        <p:tgtEl>
                                          <p:spTgt spid="1047"/>
                                        </p:tgtEl>
                                        <p:attrNameLst>
                                          <p:attrName>ppt_x</p:attrName>
                                          <p:attrName>ppt_y</p:attrName>
                                        </p:attrNameLst>
                                      </p:cBhvr>
                                      <p:rCtr x="35" y="-4383"/>
                                    </p:animMotion>
                                  </p:childTnLst>
                                </p:cTn>
                              </p:par>
                            </p:childTnLst>
                          </p:cTn>
                        </p:par>
                        <p:par>
                          <p:cTn id="73" fill="hold">
                            <p:stCondLst>
                              <p:cond delay="500"/>
                            </p:stCondLst>
                            <p:childTnLst>
                              <p:par>
                                <p:cTn id="74" presetID="10" presetClass="entr" presetSubtype="0" fill="hold" nodeType="afterEffect">
                                  <p:stCondLst>
                                    <p:cond delay="50"/>
                                  </p:stCondLst>
                                  <p:childTnLst>
                                    <p:set>
                                      <p:cBhvr>
                                        <p:cTn id="75" dur="1" fill="hold">
                                          <p:stCondLst>
                                            <p:cond delay="0"/>
                                          </p:stCondLst>
                                        </p:cTn>
                                        <p:tgtEl>
                                          <p:spTgt spid="1050"/>
                                        </p:tgtEl>
                                        <p:attrNameLst>
                                          <p:attrName>style.visibility</p:attrName>
                                        </p:attrNameLst>
                                      </p:cBhvr>
                                      <p:to>
                                        <p:strVal val="visible"/>
                                      </p:to>
                                    </p:set>
                                    <p:animEffect transition="in" filter="fade">
                                      <p:cBhvr>
                                        <p:cTn id="76" dur="500"/>
                                        <p:tgtEl>
                                          <p:spTgt spid="1050"/>
                                        </p:tgtEl>
                                      </p:cBhvr>
                                    </p:animEffect>
                                  </p:childTnLst>
                                </p:cTn>
                              </p:par>
                              <p:par>
                                <p:cTn id="77" presetID="63" presetClass="path" presetSubtype="0" accel="50000" decel="50000" fill="hold" nodeType="withEffect">
                                  <p:stCondLst>
                                    <p:cond delay="0"/>
                                  </p:stCondLst>
                                  <p:childTnLst>
                                    <p:animMotion origin="layout" path="M 2.77778E-7 2.71605E-6 L 0.93351 2.71605E-6 " pathEditMode="relative" rAng="0" ptsTypes="AA">
                                      <p:cBhvr>
                                        <p:cTn id="78" dur="50" fill="hold"/>
                                        <p:tgtEl>
                                          <p:spTgt spid="1050"/>
                                        </p:tgtEl>
                                        <p:attrNameLst>
                                          <p:attrName>ppt_x</p:attrName>
                                          <p:attrName>ppt_y</p:attrName>
                                        </p:attrNameLst>
                                      </p:cBhvr>
                                      <p:rCtr x="46684" y="0"/>
                                    </p:animMotion>
                                  </p:childTnLst>
                                </p:cTn>
                              </p:par>
                            </p:childTnLst>
                          </p:cTn>
                        </p:par>
                        <p:par>
                          <p:cTn id="79" fill="hold">
                            <p:stCondLst>
                              <p:cond delay="1050"/>
                            </p:stCondLst>
                            <p:childTnLst>
                              <p:par>
                                <p:cTn id="80" presetID="10" presetClass="entr" presetSubtype="0" fill="hold" grpId="0" nodeType="afterEffect">
                                  <p:stCondLst>
                                    <p:cond delay="0"/>
                                  </p:stCondLst>
                                  <p:childTnLst>
                                    <p:set>
                                      <p:cBhvr>
                                        <p:cTn id="81" dur="1" fill="hold">
                                          <p:stCondLst>
                                            <p:cond delay="0"/>
                                          </p:stCondLst>
                                        </p:cTn>
                                        <p:tgtEl>
                                          <p:spTgt spid="1021"/>
                                        </p:tgtEl>
                                        <p:attrNameLst>
                                          <p:attrName>style.visibility</p:attrName>
                                        </p:attrNameLst>
                                      </p:cBhvr>
                                      <p:to>
                                        <p:strVal val="visible"/>
                                      </p:to>
                                    </p:set>
                                    <p:animEffect transition="in" filter="fade">
                                      <p:cBhvr>
                                        <p:cTn id="82" dur="500"/>
                                        <p:tgtEl>
                                          <p:spTgt spid="1021"/>
                                        </p:tgtEl>
                                      </p:cBhvr>
                                    </p:animEffect>
                                  </p:childTnLst>
                                </p:cTn>
                              </p:par>
                              <p:par>
                                <p:cTn id="83" presetID="16" presetClass="entr" presetSubtype="37" fill="hold" nodeType="withEffect">
                                  <p:stCondLst>
                                    <p:cond delay="0"/>
                                  </p:stCondLst>
                                  <p:childTnLst>
                                    <p:set>
                                      <p:cBhvr>
                                        <p:cTn id="84" dur="1" fill="hold">
                                          <p:stCondLst>
                                            <p:cond delay="0"/>
                                          </p:stCondLst>
                                        </p:cTn>
                                        <p:tgtEl>
                                          <p:spTgt spid="247"/>
                                        </p:tgtEl>
                                        <p:attrNameLst>
                                          <p:attrName>style.visibility</p:attrName>
                                        </p:attrNameLst>
                                      </p:cBhvr>
                                      <p:to>
                                        <p:strVal val="visible"/>
                                      </p:to>
                                    </p:set>
                                    <p:animEffect transition="in" filter="barn(outVertical)">
                                      <p:cBhvr>
                                        <p:cTn id="85" dur="500"/>
                                        <p:tgtEl>
                                          <p:spTgt spid="2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7" grpId="0" animBg="1"/>
      <p:bldP spid="1018" grpId="0" animBg="1"/>
      <p:bldP spid="1018" grpId="1" animBg="1"/>
      <p:bldP spid="1019" grpId="0"/>
      <p:bldP spid="1020" grpId="0"/>
      <p:bldP spid="1021" grpId="0"/>
      <p:bldP spid="1046" grpId="0" animBg="1"/>
      <p:bldP spid="1046" grpId="1" animBg="1"/>
      <p:bldP spid="1046" grpId="2"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2625396" y="1534282"/>
            <a:ext cx="2252412" cy="5475283"/>
            <a:chOff x="2573287" y="1504335"/>
            <a:chExt cx="2208448" cy="5368412"/>
          </a:xfrm>
        </p:grpSpPr>
        <p:sp>
          <p:nvSpPr>
            <p:cNvPr id="70" name="Rectangle 69"/>
            <p:cNvSpPr/>
            <p:nvPr/>
          </p:nvSpPr>
          <p:spPr bwMode="auto">
            <a:xfrm>
              <a:off x="2573287" y="1504335"/>
              <a:ext cx="2208448" cy="31758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79116" y="4247536"/>
              <a:ext cx="2196595" cy="2625211"/>
            </a:xfrm>
            <a:prstGeom prst="rect">
              <a:avLst/>
            </a:prstGeom>
          </p:spPr>
        </p:pic>
        <p:sp>
          <p:nvSpPr>
            <p:cNvPr id="26" name="Rectangle 25"/>
            <p:cNvSpPr/>
            <p:nvPr/>
          </p:nvSpPr>
          <p:spPr bwMode="gray">
            <a:xfrm>
              <a:off x="2766605" y="1713743"/>
              <a:ext cx="1847139"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14050">
                <a:defRPr/>
              </a:pPr>
              <a:r>
                <a:rPr lang="en-US" sz="1836" b="1" kern="0">
                  <a:solidFill>
                    <a:srgbClr val="0078D7"/>
                  </a:solidFill>
                  <a:latin typeface="Segoe UI"/>
                  <a:cs typeface="Segoe UI Semilight" panose="020B0402040204020203" pitchFamily="34" charset="0"/>
                </a:rPr>
                <a:t>SPEECH</a:t>
              </a:r>
            </a:p>
          </p:txBody>
        </p:sp>
        <p:sp>
          <p:nvSpPr>
            <p:cNvPr id="44" name="TextBox 43"/>
            <p:cNvSpPr txBox="1"/>
            <p:nvPr/>
          </p:nvSpPr>
          <p:spPr>
            <a:xfrm>
              <a:off x="2709222" y="5820698"/>
              <a:ext cx="1951268" cy="245086"/>
            </a:xfrm>
            <a:prstGeom prst="rect">
              <a:avLst/>
            </a:prstGeom>
            <a:solidFill>
              <a:schemeClr val="bg1"/>
            </a:solidFill>
            <a:ln>
              <a:noFill/>
            </a:ln>
          </p:spPr>
          <p:txBody>
            <a:bodyPr wrap="square" lIns="110150" tIns="18652" rIns="46630" bIns="18652"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896214">
                <a:spcAft>
                  <a:spcPts val="587"/>
                </a:spcAft>
                <a:defRPr/>
              </a:pPr>
              <a:r>
                <a:rPr lang="en-US" sz="1020">
                  <a:solidFill>
                    <a:srgbClr val="505050"/>
                  </a:solidFill>
                  <a:latin typeface="Segoe UI"/>
                </a:rPr>
                <a:t>Convert spoken audio to text </a:t>
              </a:r>
            </a:p>
          </p:txBody>
        </p:sp>
        <p:sp>
          <p:nvSpPr>
            <p:cNvPr id="45" name="TextBox 44"/>
            <p:cNvSpPr txBox="1"/>
            <p:nvPr/>
          </p:nvSpPr>
          <p:spPr>
            <a:xfrm>
              <a:off x="2709222" y="6155992"/>
              <a:ext cx="1951268" cy="250612"/>
            </a:xfrm>
            <a:prstGeom prst="rect">
              <a:avLst/>
            </a:prstGeom>
            <a:solidFill>
              <a:schemeClr val="bg1"/>
            </a:solidFill>
            <a:ln>
              <a:noFill/>
            </a:ln>
          </p:spPr>
          <p:txBody>
            <a:bodyPr wrap="square" lIns="110150" tIns="18652" rIns="46630" bIns="18652"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896214">
                <a:spcAft>
                  <a:spcPts val="587"/>
                </a:spcAft>
                <a:defRPr/>
              </a:pPr>
              <a:r>
                <a:rPr lang="en-US" sz="1020">
                  <a:solidFill>
                    <a:srgbClr val="505050"/>
                  </a:solidFill>
                  <a:latin typeface="Segoe UI"/>
                </a:rPr>
                <a:t>Convert text to spoken audio</a:t>
              </a:r>
            </a:p>
          </p:txBody>
        </p:sp>
        <p:sp>
          <p:nvSpPr>
            <p:cNvPr id="46" name="TextBox 45"/>
            <p:cNvSpPr txBox="1"/>
            <p:nvPr/>
          </p:nvSpPr>
          <p:spPr>
            <a:xfrm>
              <a:off x="2709222" y="6496692"/>
              <a:ext cx="1951268" cy="250612"/>
            </a:xfrm>
            <a:prstGeom prst="rect">
              <a:avLst/>
            </a:prstGeom>
            <a:solidFill>
              <a:schemeClr val="bg1"/>
            </a:solidFill>
            <a:ln>
              <a:noFill/>
            </a:ln>
          </p:spPr>
          <p:txBody>
            <a:bodyPr wrap="square" lIns="110150" tIns="18652" rIns="46630" bIns="18652" rtlCol="0" anchor="ctr" anchorCtr="0">
              <a:noAutofit/>
            </a:bodyPr>
            <a:lstStyle/>
            <a:p>
              <a:pPr defTabSz="896214">
                <a:lnSpc>
                  <a:spcPct val="90000"/>
                </a:lnSpc>
                <a:spcAft>
                  <a:spcPts val="587"/>
                </a:spcAft>
                <a:defRPr/>
              </a:pPr>
              <a:r>
                <a:rPr lang="en-US" sz="1020" i="1" kern="0">
                  <a:solidFill>
                    <a:srgbClr val="505050"/>
                  </a:solidFill>
                  <a:latin typeface="Segoe UI"/>
                </a:rPr>
                <a:t>Extract intent of user</a:t>
              </a:r>
            </a:p>
          </p:txBody>
        </p:sp>
        <p:grpSp>
          <p:nvGrpSpPr>
            <p:cNvPr id="6" name="Group 5"/>
            <p:cNvGrpSpPr/>
            <p:nvPr/>
          </p:nvGrpSpPr>
          <p:grpSpPr>
            <a:xfrm>
              <a:off x="2688340" y="2887732"/>
              <a:ext cx="1839284" cy="1123896"/>
              <a:chOff x="2791815" y="6285352"/>
              <a:chExt cx="1839284" cy="1123896"/>
            </a:xfrm>
          </p:grpSpPr>
          <p:pic>
            <p:nvPicPr>
              <p:cNvPr id="90" name="Picture 8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2791815" y="6285352"/>
                <a:ext cx="1839284" cy="1123896"/>
              </a:xfrm>
              <a:prstGeom prst="rect">
                <a:avLst/>
              </a:prstGeom>
              <a:effectLst/>
            </p:spPr>
          </p:pic>
          <p:sp>
            <p:nvSpPr>
              <p:cNvPr id="94" name="Rectangle 93"/>
              <p:cNvSpPr/>
              <p:nvPr/>
            </p:nvSpPr>
            <p:spPr>
              <a:xfrm>
                <a:off x="2984173" y="6310628"/>
                <a:ext cx="1553650" cy="769511"/>
              </a:xfrm>
              <a:prstGeom prst="rect">
                <a:avLst/>
              </a:prstGeom>
            </p:spPr>
            <p:txBody>
              <a:bodyPr wrap="square">
                <a:spAutoFit/>
              </a:bodyPr>
              <a:lstStyle/>
              <a:p>
                <a:pPr algn="ctr" defTabSz="913687">
                  <a:lnSpc>
                    <a:spcPts val="1815"/>
                  </a:lnSpc>
                  <a:defRPr/>
                </a:pPr>
                <a:r>
                  <a:rPr lang="en-US" sz="1632" i="1" kern="0">
                    <a:solidFill>
                      <a:srgbClr val="505050"/>
                    </a:solidFill>
                    <a:latin typeface="Segoe UI"/>
                    <a:ea typeface="Segoe UI" pitchFamily="34" charset="0"/>
                    <a:cs typeface="Segoe UI" pitchFamily="34" charset="0"/>
                  </a:rPr>
                  <a:t>Give me directions to </a:t>
                </a:r>
                <a:br>
                  <a:rPr lang="en-US" sz="1632" i="1" kern="0">
                    <a:solidFill>
                      <a:srgbClr val="505050"/>
                    </a:solidFill>
                    <a:latin typeface="Segoe UI"/>
                    <a:ea typeface="Segoe UI" pitchFamily="34" charset="0"/>
                    <a:cs typeface="Segoe UI" pitchFamily="34" charset="0"/>
                  </a:rPr>
                </a:br>
                <a:r>
                  <a:rPr lang="en-US" sz="1632" i="1" kern="0">
                    <a:solidFill>
                      <a:srgbClr val="505050"/>
                    </a:solidFill>
                    <a:latin typeface="Segoe UI"/>
                    <a:ea typeface="Segoe UI" pitchFamily="34" charset="0"/>
                    <a:cs typeface="Segoe UI" pitchFamily="34" charset="0"/>
                  </a:rPr>
                  <a:t>the closest ATM</a:t>
                </a:r>
              </a:p>
            </p:txBody>
          </p:sp>
        </p:grpSp>
        <p:sp>
          <p:nvSpPr>
            <p:cNvPr id="104" name="Rectangle 103"/>
            <p:cNvSpPr/>
            <p:nvPr/>
          </p:nvSpPr>
          <p:spPr>
            <a:xfrm>
              <a:off x="2673094" y="2181833"/>
              <a:ext cx="2034160" cy="531812"/>
            </a:xfrm>
            <a:prstGeom prst="rect">
              <a:avLst/>
            </a:prstGeom>
          </p:spPr>
          <p:txBody>
            <a:bodyPr wrap="square">
              <a:spAutoFit/>
            </a:bodyPr>
            <a:lstStyle/>
            <a:p>
              <a:pPr algn="ctr" defTabSz="913926" fontAlgn="base">
                <a:spcBef>
                  <a:spcPct val="0"/>
                </a:spcBef>
                <a:spcAft>
                  <a:spcPct val="0"/>
                </a:spcAft>
                <a:defRPr/>
              </a:pPr>
              <a:r>
                <a:rPr lang="en-US" sz="1428" kern="0">
                  <a:solidFill>
                    <a:srgbClr val="0064B7"/>
                  </a:solidFill>
                  <a:latin typeface="Segoe UI"/>
                  <a:ea typeface="Segoe UI" pitchFamily="34" charset="0"/>
                  <a:cs typeface="Segoe UI" pitchFamily="34" charset="0"/>
                </a:rPr>
                <a:t>Speech-to-Text and Text-to-Speech Service</a:t>
              </a:r>
            </a:p>
          </p:txBody>
        </p:sp>
      </p:grpSp>
      <p:grpSp>
        <p:nvGrpSpPr>
          <p:cNvPr id="18" name="Group 17"/>
          <p:cNvGrpSpPr/>
          <p:nvPr/>
        </p:nvGrpSpPr>
        <p:grpSpPr>
          <a:xfrm>
            <a:off x="151303" y="1534282"/>
            <a:ext cx="2252412" cy="5469172"/>
            <a:chOff x="147485" y="1504335"/>
            <a:chExt cx="2208448" cy="5362420"/>
          </a:xfrm>
        </p:grpSpPr>
        <p:sp>
          <p:nvSpPr>
            <p:cNvPr id="69" name="Rectangle 68"/>
            <p:cNvSpPr/>
            <p:nvPr/>
          </p:nvSpPr>
          <p:spPr bwMode="auto">
            <a:xfrm>
              <a:off x="147485" y="1504335"/>
              <a:ext cx="2208448" cy="31758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47486" y="4247537"/>
              <a:ext cx="2208446" cy="2619218"/>
            </a:xfrm>
            <a:prstGeom prst="rect">
              <a:avLst/>
            </a:prstGeom>
          </p:spPr>
        </p:pic>
        <p:sp>
          <p:nvSpPr>
            <p:cNvPr id="24" name="Rectangle 23"/>
            <p:cNvSpPr/>
            <p:nvPr/>
          </p:nvSpPr>
          <p:spPr bwMode="gray">
            <a:xfrm>
              <a:off x="269241" y="1713743"/>
              <a:ext cx="1968704"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14050">
                <a:defRPr/>
              </a:pPr>
              <a:r>
                <a:rPr lang="en-US" sz="1836" b="1" kern="0">
                  <a:solidFill>
                    <a:srgbClr val="0078D7"/>
                  </a:solidFill>
                  <a:latin typeface="Segoe UI"/>
                  <a:cs typeface="Segoe UI Semilight" panose="020B0402040204020203" pitchFamily="34" charset="0"/>
                </a:rPr>
                <a:t>VISION</a:t>
              </a:r>
            </a:p>
          </p:txBody>
        </p:sp>
        <p:grpSp>
          <p:nvGrpSpPr>
            <p:cNvPr id="7" name="Group 6"/>
            <p:cNvGrpSpPr/>
            <p:nvPr/>
          </p:nvGrpSpPr>
          <p:grpSpPr>
            <a:xfrm>
              <a:off x="269241" y="2887732"/>
              <a:ext cx="1839284" cy="1123896"/>
              <a:chOff x="440327" y="6285352"/>
              <a:chExt cx="1839284" cy="1123896"/>
            </a:xfrm>
          </p:grpSpPr>
          <p:pic>
            <p:nvPicPr>
              <p:cNvPr id="88" name="Picture 8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440327" y="6285352"/>
                <a:ext cx="1839284" cy="1123896"/>
              </a:xfrm>
              <a:prstGeom prst="rect">
                <a:avLst/>
              </a:prstGeom>
              <a:effectLst/>
            </p:spPr>
          </p:pic>
          <p:sp>
            <p:nvSpPr>
              <p:cNvPr id="89" name="Rectangle 88"/>
              <p:cNvSpPr/>
              <p:nvPr/>
            </p:nvSpPr>
            <p:spPr>
              <a:xfrm>
                <a:off x="633487" y="6410656"/>
                <a:ext cx="1627200" cy="594650"/>
              </a:xfrm>
              <a:prstGeom prst="rect">
                <a:avLst/>
              </a:prstGeom>
            </p:spPr>
            <p:txBody>
              <a:bodyPr wrap="square">
                <a:spAutoFit/>
              </a:bodyPr>
              <a:lstStyle/>
              <a:p>
                <a:pPr algn="ctr" defTabSz="913687">
                  <a:defRPr/>
                </a:pPr>
                <a:r>
                  <a:rPr lang="en-US" sz="1632" i="1" kern="0">
                    <a:solidFill>
                      <a:srgbClr val="505050"/>
                    </a:solidFill>
                    <a:latin typeface="Segoe UI"/>
                    <a:ea typeface="Segoe UI" pitchFamily="34" charset="0"/>
                    <a:cs typeface="Segoe UI" pitchFamily="34" charset="0"/>
                  </a:rPr>
                  <a:t>What is in </a:t>
                </a:r>
                <a:br>
                  <a:rPr lang="en-US" sz="1632" i="1" kern="0">
                    <a:solidFill>
                      <a:srgbClr val="505050"/>
                    </a:solidFill>
                    <a:latin typeface="Segoe UI"/>
                    <a:ea typeface="Segoe UI" pitchFamily="34" charset="0"/>
                    <a:cs typeface="Segoe UI" pitchFamily="34" charset="0"/>
                  </a:rPr>
                </a:br>
                <a:r>
                  <a:rPr lang="en-US" sz="1632" i="1" kern="0">
                    <a:solidFill>
                      <a:srgbClr val="505050"/>
                    </a:solidFill>
                    <a:latin typeface="Segoe UI"/>
                    <a:ea typeface="Segoe UI" pitchFamily="34" charset="0"/>
                    <a:cs typeface="Segoe UI" pitchFamily="34" charset="0"/>
                  </a:rPr>
                  <a:t>the image?</a:t>
                </a:r>
              </a:p>
            </p:txBody>
          </p:sp>
        </p:grpSp>
        <p:sp>
          <p:nvSpPr>
            <p:cNvPr id="103" name="Rectangle 102"/>
            <p:cNvSpPr/>
            <p:nvPr/>
          </p:nvSpPr>
          <p:spPr>
            <a:xfrm>
              <a:off x="248977" y="2181833"/>
              <a:ext cx="2009232" cy="312073"/>
            </a:xfrm>
            <a:prstGeom prst="rect">
              <a:avLst/>
            </a:prstGeom>
          </p:spPr>
          <p:txBody>
            <a:bodyPr wrap="square">
              <a:spAutoFit/>
            </a:bodyPr>
            <a:lstStyle/>
            <a:p>
              <a:pPr algn="ctr" defTabSz="913926" fontAlgn="base">
                <a:spcBef>
                  <a:spcPct val="0"/>
                </a:spcBef>
                <a:spcAft>
                  <a:spcPct val="0"/>
                </a:spcAft>
                <a:defRPr/>
              </a:pPr>
              <a:r>
                <a:rPr lang="en-US" sz="1428" kern="0">
                  <a:solidFill>
                    <a:srgbClr val="0064B7"/>
                  </a:solidFill>
                  <a:latin typeface="Segoe UI"/>
                  <a:ea typeface="Segoe UI" pitchFamily="34" charset="0"/>
                  <a:cs typeface="Segoe UI" pitchFamily="34" charset="0"/>
                </a:rPr>
                <a:t>Computer Vision</a:t>
              </a:r>
            </a:p>
          </p:txBody>
        </p:sp>
      </p:grpSp>
      <p:graphicFrame>
        <p:nvGraphicFramePr>
          <p:cNvPr id="22" name="Table 20"/>
          <p:cNvGraphicFramePr>
            <a:graphicFrameLocks noGrp="1"/>
          </p:cNvGraphicFramePr>
          <p:nvPr>
            <p:extLst/>
          </p:nvPr>
        </p:nvGraphicFramePr>
        <p:xfrm>
          <a:off x="272105" y="5921908"/>
          <a:ext cx="2010807" cy="949042"/>
        </p:xfrm>
        <a:graphic>
          <a:graphicData uri="http://schemas.openxmlformats.org/drawingml/2006/table">
            <a:tbl>
              <a:tblPr firstRow="1" bandRow="1"/>
              <a:tblGrid>
                <a:gridCol w="1044595">
                  <a:extLst>
                    <a:ext uri="{9D8B030D-6E8A-4147-A177-3AD203B41FA5}">
                      <a16:colId xmlns:a16="http://schemas.microsoft.com/office/drawing/2014/main" val="20000"/>
                    </a:ext>
                  </a:extLst>
                </a:gridCol>
                <a:gridCol w="966212">
                  <a:extLst>
                    <a:ext uri="{9D8B030D-6E8A-4147-A177-3AD203B41FA5}">
                      <a16:colId xmlns:a16="http://schemas.microsoft.com/office/drawing/2014/main" val="20001"/>
                    </a:ext>
                  </a:extLst>
                </a:gridCol>
              </a:tblGrid>
              <a:tr h="2435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000">
                          <a:solidFill>
                            <a:schemeClr val="tx1"/>
                          </a:solidFill>
                          <a:latin typeface="+mn-lt"/>
                          <a:cs typeface="Segoe UI" panose="020B0502040204020203" pitchFamily="34" charset="0"/>
                        </a:rPr>
                        <a:t>Category</a:t>
                      </a: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000">
                          <a:solidFill>
                            <a:schemeClr val="tx1"/>
                          </a:solidFill>
                          <a:latin typeface="+mn-lt"/>
                          <a:cs typeface="Segoe UI" panose="020B0502040204020203" pitchFamily="34" charset="0"/>
                        </a:rPr>
                        <a:t>People; 1</a:t>
                      </a:r>
                      <a:r>
                        <a:rPr lang="en-US" sz="1000" baseline="0">
                          <a:solidFill>
                            <a:schemeClr val="tx1"/>
                          </a:solidFill>
                          <a:latin typeface="+mn-lt"/>
                          <a:cs typeface="Segoe UI" panose="020B0502040204020203" pitchFamily="34" charset="0"/>
                        </a:rPr>
                        <a:t> face</a:t>
                      </a:r>
                      <a:endParaRPr lang="en-US" sz="1000">
                        <a:solidFill>
                          <a:schemeClr val="tx1"/>
                        </a:solidFill>
                        <a:latin typeface="+mn-lt"/>
                        <a:cs typeface="Segoe UI" panose="020B0502040204020203" pitchFamily="34" charset="0"/>
                      </a:endParaRP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35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000">
                          <a:solidFill>
                            <a:schemeClr val="tx1"/>
                          </a:solidFill>
                          <a:latin typeface="+mn-lt"/>
                          <a:cs typeface="Segoe UI" panose="020B0502040204020203" pitchFamily="34" charset="0"/>
                        </a:rPr>
                        <a:t>Adult /</a:t>
                      </a:r>
                      <a:r>
                        <a:rPr lang="en-US" sz="1000" baseline="0">
                          <a:solidFill>
                            <a:schemeClr val="tx1"/>
                          </a:solidFill>
                          <a:latin typeface="+mn-lt"/>
                          <a:cs typeface="Segoe UI" panose="020B0502040204020203" pitchFamily="34" charset="0"/>
                        </a:rPr>
                        <a:t> R</a:t>
                      </a:r>
                      <a:r>
                        <a:rPr lang="en-US" sz="1000">
                          <a:solidFill>
                            <a:schemeClr val="tx1"/>
                          </a:solidFill>
                          <a:latin typeface="+mn-lt"/>
                          <a:cs typeface="Segoe UI" panose="020B0502040204020203" pitchFamily="34" charset="0"/>
                        </a:rPr>
                        <a:t>acy?</a:t>
                      </a: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000">
                          <a:solidFill>
                            <a:schemeClr val="tx1"/>
                          </a:solidFill>
                          <a:latin typeface="+mn-lt"/>
                          <a:cs typeface="Segoe UI" panose="020B0502040204020203" pitchFamily="34" charset="0"/>
                        </a:rPr>
                        <a:t>False</a:t>
                      </a:r>
                      <a:r>
                        <a:rPr lang="en-US" sz="1000" baseline="0">
                          <a:solidFill>
                            <a:schemeClr val="tx1"/>
                          </a:solidFill>
                          <a:latin typeface="+mn-lt"/>
                          <a:cs typeface="Segoe UI" panose="020B0502040204020203" pitchFamily="34" charset="0"/>
                        </a:rPr>
                        <a:t> / True</a:t>
                      </a:r>
                      <a:endParaRPr lang="en-US" sz="1000">
                        <a:solidFill>
                          <a:schemeClr val="tx1"/>
                        </a:solidFill>
                        <a:latin typeface="+mn-lt"/>
                        <a:cs typeface="Segoe UI" panose="020B0502040204020203" pitchFamily="34" charset="0"/>
                      </a:endParaRP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435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000">
                          <a:solidFill>
                            <a:schemeClr val="tx1"/>
                          </a:solidFill>
                          <a:latin typeface="+mn-lt"/>
                          <a:cs typeface="Segoe UI" panose="020B0502040204020203" pitchFamily="34" charset="0"/>
                        </a:rPr>
                        <a:t>Dominant</a:t>
                      </a:r>
                      <a:r>
                        <a:rPr lang="en-US" sz="1000" baseline="0">
                          <a:solidFill>
                            <a:schemeClr val="tx1"/>
                          </a:solidFill>
                          <a:latin typeface="+mn-lt"/>
                          <a:cs typeface="Segoe UI" panose="020B0502040204020203" pitchFamily="34" charset="0"/>
                        </a:rPr>
                        <a:t> c</a:t>
                      </a:r>
                      <a:r>
                        <a:rPr lang="en-US" sz="1000">
                          <a:solidFill>
                            <a:schemeClr val="tx1"/>
                          </a:solidFill>
                          <a:latin typeface="+mn-lt"/>
                          <a:cs typeface="Segoe UI" panose="020B0502040204020203" pitchFamily="34" charset="0"/>
                        </a:rPr>
                        <a:t>olors</a:t>
                      </a: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sz="1000">
                        <a:solidFill>
                          <a:schemeClr val="tx1"/>
                        </a:solidFill>
                        <a:latin typeface="+mn-lt"/>
                        <a:cs typeface="Segoe UI" panose="020B0502040204020203" pitchFamily="34" charset="0"/>
                      </a:endParaRP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1842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000">
                          <a:solidFill>
                            <a:schemeClr val="tx1"/>
                          </a:solidFill>
                          <a:latin typeface="+mn-lt"/>
                          <a:cs typeface="Segoe UI" panose="020B0502040204020203" pitchFamily="34" charset="0"/>
                        </a:rPr>
                        <a:t>Accent color</a:t>
                      </a: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sz="1000">
                        <a:solidFill>
                          <a:schemeClr val="tx1"/>
                        </a:solidFill>
                        <a:latin typeface="+mn-lt"/>
                        <a:cs typeface="Segoe UI" panose="020B0502040204020203" pitchFamily="34" charset="0"/>
                      </a:endParaRPr>
                    </a:p>
                  </a:txBody>
                  <a:tcPr marL="46630" marR="46630"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pSp>
        <p:nvGrpSpPr>
          <p:cNvPr id="19" name="Group 18"/>
          <p:cNvGrpSpPr/>
          <p:nvPr/>
        </p:nvGrpSpPr>
        <p:grpSpPr>
          <a:xfrm>
            <a:off x="1381824" y="6479222"/>
            <a:ext cx="451620" cy="336654"/>
            <a:chOff x="1353988" y="6352755"/>
            <a:chExt cx="442805" cy="330083"/>
          </a:xfrm>
        </p:grpSpPr>
        <p:grpSp>
          <p:nvGrpSpPr>
            <p:cNvPr id="54" name="Group 53"/>
            <p:cNvGrpSpPr/>
            <p:nvPr/>
          </p:nvGrpSpPr>
          <p:grpSpPr>
            <a:xfrm>
              <a:off x="1353988" y="6352755"/>
              <a:ext cx="442805" cy="109728"/>
              <a:chOff x="217645" y="5022048"/>
              <a:chExt cx="442805" cy="109728"/>
            </a:xfrm>
          </p:grpSpPr>
          <p:sp>
            <p:nvSpPr>
              <p:cNvPr id="55" name="Rectangle 54"/>
              <p:cNvSpPr/>
              <p:nvPr/>
            </p:nvSpPr>
            <p:spPr bwMode="auto">
              <a:xfrm>
                <a:off x="217645" y="5022048"/>
                <a:ext cx="109429" cy="109728"/>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56" name="Rectangle 55"/>
              <p:cNvSpPr/>
              <p:nvPr/>
            </p:nvSpPr>
            <p:spPr bwMode="auto">
              <a:xfrm>
                <a:off x="384333" y="5022048"/>
                <a:ext cx="109429" cy="109728"/>
              </a:xfrm>
              <a:prstGeom prst="rect">
                <a:avLst/>
              </a:prstGeom>
              <a:solidFill>
                <a:srgbClr val="7998DB"/>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57" name="Rectangle 56"/>
              <p:cNvSpPr/>
              <p:nvPr/>
            </p:nvSpPr>
            <p:spPr bwMode="auto">
              <a:xfrm>
                <a:off x="551021" y="5022048"/>
                <a:ext cx="109429" cy="109728"/>
              </a:xfrm>
              <a:prstGeom prst="rect">
                <a:avLst/>
              </a:prstGeom>
              <a:solidFill>
                <a:srgbClr val="161E1F"/>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58" name="Rectangle 57"/>
            <p:cNvSpPr/>
            <p:nvPr/>
          </p:nvSpPr>
          <p:spPr bwMode="auto">
            <a:xfrm>
              <a:off x="1353988" y="6573110"/>
              <a:ext cx="109429" cy="109728"/>
            </a:xfrm>
            <a:prstGeom prst="rect">
              <a:avLst/>
            </a:prstGeom>
            <a:solidFill>
              <a:srgbClr val="51782F"/>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grpSp>
        <p:nvGrpSpPr>
          <p:cNvPr id="16" name="Group 15"/>
          <p:cNvGrpSpPr/>
          <p:nvPr/>
        </p:nvGrpSpPr>
        <p:grpSpPr>
          <a:xfrm>
            <a:off x="7573583" y="1534282"/>
            <a:ext cx="2252412" cy="5485313"/>
            <a:chOff x="7424891" y="1504335"/>
            <a:chExt cx="2208448" cy="5378246"/>
          </a:xfrm>
        </p:grpSpPr>
        <p:sp>
          <p:nvSpPr>
            <p:cNvPr id="83" name="Rectangle 82"/>
            <p:cNvSpPr/>
            <p:nvPr/>
          </p:nvSpPr>
          <p:spPr bwMode="auto">
            <a:xfrm>
              <a:off x="7424891" y="4247536"/>
              <a:ext cx="2208448" cy="26350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p:cNvSpPr/>
            <p:nvPr/>
          </p:nvSpPr>
          <p:spPr bwMode="auto">
            <a:xfrm>
              <a:off x="7424891" y="1504335"/>
              <a:ext cx="2208448" cy="27432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p:cNvSpPr/>
            <p:nvPr/>
          </p:nvSpPr>
          <p:spPr bwMode="gray">
            <a:xfrm>
              <a:off x="7551429" y="1713743"/>
              <a:ext cx="1902954"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14050">
                <a:defRPr/>
              </a:pPr>
              <a:r>
                <a:rPr lang="en-US" sz="1836" b="1" kern="0">
                  <a:solidFill>
                    <a:srgbClr val="0078D7"/>
                  </a:solidFill>
                  <a:latin typeface="Segoe UI"/>
                  <a:cs typeface="Segoe UI Semilight" panose="020B0402040204020203" pitchFamily="34" charset="0"/>
                </a:rPr>
                <a:t>KNOWLEDGE</a:t>
              </a:r>
            </a:p>
          </p:txBody>
        </p:sp>
        <p:pic>
          <p:nvPicPr>
            <p:cNvPr id="35" name="Picture 34"/>
            <p:cNvPicPr>
              <a:picLocks noChangeAspect="1"/>
            </p:cNvPicPr>
            <p:nvPr/>
          </p:nvPicPr>
          <p:blipFill rotWithShape="1">
            <a:blip r:embed="rId6" cstate="screen">
              <a:extLst>
                <a:ext uri="{28A0092B-C50C-407E-A947-70E740481C1C}">
                  <a14:useLocalDpi xmlns:a14="http://schemas.microsoft.com/office/drawing/2010/main"/>
                </a:ext>
              </a:extLst>
            </a:blip>
            <a:srcRect l="-1"/>
            <a:stretch/>
          </p:blipFill>
          <p:spPr>
            <a:xfrm>
              <a:off x="7489764" y="4322617"/>
              <a:ext cx="2069872" cy="2491137"/>
            </a:xfrm>
            <a:prstGeom prst="rect">
              <a:avLst/>
            </a:prstGeom>
          </p:spPr>
        </p:pic>
        <p:grpSp>
          <p:nvGrpSpPr>
            <p:cNvPr id="4" name="Group 3"/>
            <p:cNvGrpSpPr/>
            <p:nvPr/>
          </p:nvGrpSpPr>
          <p:grpSpPr>
            <a:xfrm>
              <a:off x="7506703" y="2887732"/>
              <a:ext cx="1839284" cy="1123896"/>
              <a:chOff x="7419665" y="6285352"/>
              <a:chExt cx="1839284" cy="1123896"/>
            </a:xfrm>
          </p:grpSpPr>
          <p:pic>
            <p:nvPicPr>
              <p:cNvPr id="92" name="Picture 9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7419665" y="6285352"/>
                <a:ext cx="1839284" cy="1123896"/>
              </a:xfrm>
              <a:prstGeom prst="rect">
                <a:avLst/>
              </a:prstGeom>
              <a:effectLst/>
            </p:spPr>
          </p:pic>
          <p:sp>
            <p:nvSpPr>
              <p:cNvPr id="96" name="Rectangle 95"/>
              <p:cNvSpPr/>
              <p:nvPr/>
            </p:nvSpPr>
            <p:spPr>
              <a:xfrm>
                <a:off x="7687097" y="6310628"/>
                <a:ext cx="1499162" cy="784830"/>
              </a:xfrm>
              <a:prstGeom prst="rect">
                <a:avLst/>
              </a:prstGeom>
            </p:spPr>
            <p:txBody>
              <a:bodyPr wrap="square">
                <a:spAutoFit/>
              </a:bodyPr>
              <a:lstStyle/>
              <a:p>
                <a:pPr algn="ctr" defTabSz="913687">
                  <a:lnSpc>
                    <a:spcPts val="1815"/>
                  </a:lnSpc>
                  <a:defRPr/>
                </a:pPr>
                <a:r>
                  <a:rPr lang="en-US" sz="1632" i="1" kern="0">
                    <a:solidFill>
                      <a:srgbClr val="505050"/>
                    </a:solidFill>
                    <a:latin typeface="Segoe UI"/>
                    <a:ea typeface="Segoe UI" pitchFamily="34" charset="0"/>
                    <a:cs typeface="Segoe UI" pitchFamily="34" charset="0"/>
                  </a:rPr>
                  <a:t>Top publications </a:t>
                </a:r>
                <a:br>
                  <a:rPr lang="en-US" sz="1632" i="1" kern="0">
                    <a:solidFill>
                      <a:srgbClr val="505050"/>
                    </a:solidFill>
                    <a:latin typeface="Segoe UI"/>
                    <a:ea typeface="Segoe UI" pitchFamily="34" charset="0"/>
                    <a:cs typeface="Segoe UI" pitchFamily="34" charset="0"/>
                  </a:rPr>
                </a:br>
                <a:r>
                  <a:rPr lang="en-US" sz="1632" i="1" kern="0">
                    <a:solidFill>
                      <a:srgbClr val="505050"/>
                    </a:solidFill>
                    <a:latin typeface="Segoe UI"/>
                    <a:ea typeface="Segoe UI" pitchFamily="34" charset="0"/>
                    <a:cs typeface="Segoe UI" pitchFamily="34" charset="0"/>
                  </a:rPr>
                  <a:t>in AI?</a:t>
                </a:r>
              </a:p>
            </p:txBody>
          </p:sp>
        </p:grpSp>
        <p:sp>
          <p:nvSpPr>
            <p:cNvPr id="106" name="Rectangle 105"/>
            <p:cNvSpPr/>
            <p:nvPr/>
          </p:nvSpPr>
          <p:spPr>
            <a:xfrm>
              <a:off x="7555157" y="2181833"/>
              <a:ext cx="1895498" cy="531812"/>
            </a:xfrm>
            <a:prstGeom prst="rect">
              <a:avLst/>
            </a:prstGeom>
          </p:spPr>
          <p:txBody>
            <a:bodyPr wrap="square">
              <a:spAutoFit/>
            </a:bodyPr>
            <a:lstStyle/>
            <a:p>
              <a:pPr algn="ctr" defTabSz="913926" fontAlgn="base">
                <a:spcBef>
                  <a:spcPct val="0"/>
                </a:spcBef>
                <a:spcAft>
                  <a:spcPct val="0"/>
                </a:spcAft>
                <a:defRPr/>
              </a:pPr>
              <a:r>
                <a:rPr lang="en-US" sz="1428" kern="0">
                  <a:solidFill>
                    <a:srgbClr val="0064B7"/>
                  </a:solidFill>
                  <a:latin typeface="Segoe UI"/>
                  <a:ea typeface="Segoe UI" pitchFamily="34" charset="0"/>
                  <a:cs typeface="Segoe UI" pitchFamily="34" charset="0"/>
                </a:rPr>
                <a:t>Knowledge Exploration Service</a:t>
              </a:r>
            </a:p>
          </p:txBody>
        </p:sp>
      </p:grpSp>
      <p:grpSp>
        <p:nvGrpSpPr>
          <p:cNvPr id="15" name="Group 14"/>
          <p:cNvGrpSpPr/>
          <p:nvPr/>
        </p:nvGrpSpPr>
        <p:grpSpPr>
          <a:xfrm>
            <a:off x="10047675" y="1534282"/>
            <a:ext cx="2252416" cy="5469171"/>
            <a:chOff x="9850692" y="1504335"/>
            <a:chExt cx="2208451" cy="5362419"/>
          </a:xfrm>
        </p:grpSpPr>
        <p:sp>
          <p:nvSpPr>
            <p:cNvPr id="8" name="Rectangle 7"/>
            <p:cNvSpPr/>
            <p:nvPr/>
          </p:nvSpPr>
          <p:spPr bwMode="auto">
            <a:xfrm>
              <a:off x="9850695" y="1504335"/>
              <a:ext cx="2208448" cy="31758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850692" y="4247536"/>
              <a:ext cx="2208451" cy="2619218"/>
            </a:xfrm>
            <a:prstGeom prst="rect">
              <a:avLst/>
            </a:prstGeom>
          </p:spPr>
        </p:pic>
        <p:sp>
          <p:nvSpPr>
            <p:cNvPr id="27" name="Rectangle 26"/>
            <p:cNvSpPr/>
            <p:nvPr/>
          </p:nvSpPr>
          <p:spPr bwMode="gray">
            <a:xfrm>
              <a:off x="10029108" y="1713743"/>
              <a:ext cx="1894135"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14050">
                <a:defRPr/>
              </a:pPr>
              <a:r>
                <a:rPr lang="en-US" sz="1836" b="1" kern="0">
                  <a:solidFill>
                    <a:srgbClr val="0078D7"/>
                  </a:solidFill>
                  <a:latin typeface="Segoe UI"/>
                  <a:cs typeface="Segoe UI Semilight" panose="020B0402040204020203" pitchFamily="34" charset="0"/>
                </a:rPr>
                <a:t>SEARCH</a:t>
              </a:r>
            </a:p>
          </p:txBody>
        </p:sp>
        <p:grpSp>
          <p:nvGrpSpPr>
            <p:cNvPr id="3" name="Group 2"/>
            <p:cNvGrpSpPr/>
            <p:nvPr/>
          </p:nvGrpSpPr>
          <p:grpSpPr>
            <a:xfrm>
              <a:off x="9977213" y="2887733"/>
              <a:ext cx="1839284" cy="1123896"/>
              <a:chOff x="9733591" y="6285353"/>
              <a:chExt cx="1839284" cy="1123896"/>
            </a:xfrm>
          </p:grpSpPr>
          <p:pic>
            <p:nvPicPr>
              <p:cNvPr id="93" name="Picture 9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9733591" y="6285353"/>
                <a:ext cx="1839284" cy="1123896"/>
              </a:xfrm>
              <a:prstGeom prst="rect">
                <a:avLst/>
              </a:prstGeom>
              <a:effectLst/>
            </p:spPr>
          </p:pic>
          <p:sp>
            <p:nvSpPr>
              <p:cNvPr id="97" name="Rectangle 96"/>
              <p:cNvSpPr/>
              <p:nvPr/>
            </p:nvSpPr>
            <p:spPr>
              <a:xfrm>
                <a:off x="9938647" y="6410656"/>
                <a:ext cx="1596606" cy="594650"/>
              </a:xfrm>
              <a:prstGeom prst="rect">
                <a:avLst/>
              </a:prstGeom>
            </p:spPr>
            <p:txBody>
              <a:bodyPr wrap="square">
                <a:spAutoFit/>
              </a:bodyPr>
              <a:lstStyle/>
              <a:p>
                <a:pPr algn="ctr" defTabSz="913687">
                  <a:defRPr/>
                </a:pPr>
                <a:r>
                  <a:rPr lang="en-US" sz="1632" i="1" kern="0">
                    <a:solidFill>
                      <a:srgbClr val="505050"/>
                    </a:solidFill>
                    <a:latin typeface="Segoe UI"/>
                    <a:ea typeface="Segoe UI" pitchFamily="34" charset="0"/>
                    <a:cs typeface="Segoe UI" pitchFamily="34" charset="0"/>
                  </a:rPr>
                  <a:t>Search for</a:t>
                </a:r>
                <a:br>
                  <a:rPr lang="en-US" sz="1632" i="1" kern="0">
                    <a:solidFill>
                      <a:srgbClr val="505050"/>
                    </a:solidFill>
                    <a:latin typeface="Segoe UI"/>
                    <a:ea typeface="Segoe UI" pitchFamily="34" charset="0"/>
                    <a:cs typeface="Segoe UI" pitchFamily="34" charset="0"/>
                  </a:rPr>
                </a:br>
                <a:r>
                  <a:rPr lang="en-US" sz="1632" i="1" kern="0">
                    <a:solidFill>
                      <a:srgbClr val="505050"/>
                    </a:solidFill>
                    <a:latin typeface="Segoe UI"/>
                    <a:ea typeface="Segoe UI" pitchFamily="34" charset="0"/>
                    <a:cs typeface="Segoe UI" pitchFamily="34" charset="0"/>
                  </a:rPr>
                  <a:t>‘cute kittens’ </a:t>
                </a:r>
              </a:p>
            </p:txBody>
          </p:sp>
        </p:grpSp>
        <p:sp>
          <p:nvSpPr>
            <p:cNvPr id="107" name="Rectangle 106"/>
            <p:cNvSpPr/>
            <p:nvPr/>
          </p:nvSpPr>
          <p:spPr>
            <a:xfrm>
              <a:off x="10148299" y="2181833"/>
              <a:ext cx="1655752" cy="312073"/>
            </a:xfrm>
            <a:prstGeom prst="rect">
              <a:avLst/>
            </a:prstGeom>
          </p:spPr>
          <p:txBody>
            <a:bodyPr wrap="square">
              <a:spAutoFit/>
            </a:bodyPr>
            <a:lstStyle/>
            <a:p>
              <a:pPr algn="ctr" defTabSz="913926" fontAlgn="base">
                <a:spcBef>
                  <a:spcPct val="0"/>
                </a:spcBef>
                <a:spcAft>
                  <a:spcPct val="0"/>
                </a:spcAft>
                <a:defRPr/>
              </a:pPr>
              <a:r>
                <a:rPr lang="en-US" sz="1428" kern="0">
                  <a:solidFill>
                    <a:srgbClr val="0064B7"/>
                  </a:solidFill>
                  <a:latin typeface="Segoe UI"/>
                  <a:ea typeface="Segoe UI" pitchFamily="34" charset="0"/>
                  <a:cs typeface="Segoe UI" pitchFamily="34" charset="0"/>
                </a:rPr>
                <a:t>Bing Search</a:t>
              </a:r>
            </a:p>
          </p:txBody>
        </p:sp>
      </p:grpSp>
      <p:grpSp>
        <p:nvGrpSpPr>
          <p:cNvPr id="17" name="Group 16"/>
          <p:cNvGrpSpPr/>
          <p:nvPr/>
        </p:nvGrpSpPr>
        <p:grpSpPr>
          <a:xfrm>
            <a:off x="5099490" y="1488583"/>
            <a:ext cx="2252412" cy="5514870"/>
            <a:chOff x="4999089" y="1459528"/>
            <a:chExt cx="2208448" cy="5407226"/>
          </a:xfrm>
        </p:grpSpPr>
        <p:sp>
          <p:nvSpPr>
            <p:cNvPr id="71" name="Rectangle 70"/>
            <p:cNvSpPr/>
            <p:nvPr/>
          </p:nvSpPr>
          <p:spPr bwMode="auto">
            <a:xfrm>
              <a:off x="4999089" y="1504335"/>
              <a:ext cx="2208448" cy="31758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p:cNvSpPr/>
            <p:nvPr/>
          </p:nvSpPr>
          <p:spPr bwMode="gray">
            <a:xfrm>
              <a:off x="5151846" y="1713743"/>
              <a:ext cx="1913733" cy="5120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14050">
                <a:defRPr/>
              </a:pPr>
              <a:r>
                <a:rPr lang="en-US" sz="1836" b="1" kern="0">
                  <a:solidFill>
                    <a:srgbClr val="0078D7"/>
                  </a:solidFill>
                  <a:latin typeface="Segoe UI"/>
                  <a:cs typeface="Segoe UI Semilight" panose="020B0402040204020203" pitchFamily="34" charset="0"/>
                </a:rPr>
                <a:t>LANGUAGE</a:t>
              </a:r>
            </a:p>
          </p:txBody>
        </p:sp>
        <p:sp>
          <p:nvSpPr>
            <p:cNvPr id="75" name="Rectangle: Rounded Corners 191"/>
            <p:cNvSpPr/>
            <p:nvPr/>
          </p:nvSpPr>
          <p:spPr bwMode="auto">
            <a:xfrm>
              <a:off x="5799875" y="1459528"/>
              <a:ext cx="592251" cy="80548"/>
            </a:xfrm>
            <a:prstGeom prst="roundRect">
              <a:avLst>
                <a:gd name="adj"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62174" numCol="1" spcCol="0" rtlCol="0" fromWordArt="0" anchor="ctr" anchorCtr="0" forceAA="0" compatLnSpc="1">
              <a:prstTxWarp prst="textNoShape">
                <a:avLst/>
              </a:prstTxWarp>
              <a:noAutofit/>
            </a:bodyPr>
            <a:lstStyle/>
            <a:p>
              <a:pPr algn="ctr" defTabSz="1268006"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nvGrpSpPr>
            <p:cNvPr id="5" name="Group 4"/>
            <p:cNvGrpSpPr/>
            <p:nvPr/>
          </p:nvGrpSpPr>
          <p:grpSpPr>
            <a:xfrm>
              <a:off x="5105740" y="2887733"/>
              <a:ext cx="1839284" cy="1123896"/>
              <a:chOff x="5105740" y="6285353"/>
              <a:chExt cx="1839284" cy="1123896"/>
            </a:xfrm>
          </p:grpSpPr>
          <p:pic>
            <p:nvPicPr>
              <p:cNvPr id="91" name="Picture 9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5105740" y="6285353"/>
                <a:ext cx="1839284" cy="1123896"/>
              </a:xfrm>
              <a:prstGeom prst="rect">
                <a:avLst/>
              </a:prstGeom>
              <a:effectLst/>
            </p:spPr>
          </p:pic>
          <p:sp>
            <p:nvSpPr>
              <p:cNvPr id="95" name="Rectangle 94"/>
              <p:cNvSpPr/>
              <p:nvPr/>
            </p:nvSpPr>
            <p:spPr>
              <a:xfrm>
                <a:off x="5323461" y="6410656"/>
                <a:ext cx="1599164" cy="594650"/>
              </a:xfrm>
              <a:prstGeom prst="rect">
                <a:avLst/>
              </a:prstGeom>
            </p:spPr>
            <p:txBody>
              <a:bodyPr wrap="square">
                <a:spAutoFit/>
              </a:bodyPr>
              <a:lstStyle/>
              <a:p>
                <a:pPr algn="ctr" defTabSz="913687">
                  <a:defRPr/>
                </a:pPr>
                <a:r>
                  <a:rPr lang="en-US" sz="1632" i="1" kern="0">
                    <a:solidFill>
                      <a:srgbClr val="505050"/>
                    </a:solidFill>
                    <a:latin typeface="Segoe UI"/>
                    <a:ea typeface="Segoe UI" pitchFamily="34" charset="0"/>
                    <a:cs typeface="Segoe UI" pitchFamily="34" charset="0"/>
                  </a:rPr>
                  <a:t>Play today’s Daily Show</a:t>
                </a:r>
              </a:p>
            </p:txBody>
          </p:sp>
        </p:grpSp>
        <p:sp>
          <p:nvSpPr>
            <p:cNvPr id="105" name="Rectangle 104"/>
            <p:cNvSpPr/>
            <p:nvPr/>
          </p:nvSpPr>
          <p:spPr>
            <a:xfrm>
              <a:off x="5181259" y="2181833"/>
              <a:ext cx="1854906" cy="531812"/>
            </a:xfrm>
            <a:prstGeom prst="rect">
              <a:avLst/>
            </a:prstGeom>
          </p:spPr>
          <p:txBody>
            <a:bodyPr wrap="square">
              <a:spAutoFit/>
            </a:bodyPr>
            <a:lstStyle/>
            <a:p>
              <a:pPr algn="ctr" defTabSz="913926" fontAlgn="base">
                <a:spcBef>
                  <a:spcPct val="0"/>
                </a:spcBef>
                <a:spcAft>
                  <a:spcPct val="0"/>
                </a:spcAft>
                <a:defRPr/>
              </a:pPr>
              <a:r>
                <a:rPr lang="en-US" sz="1428" kern="0">
                  <a:solidFill>
                    <a:srgbClr val="0064B7"/>
                  </a:solidFill>
                  <a:latin typeface="Segoe UI"/>
                  <a:ea typeface="Segoe UI" pitchFamily="34" charset="0"/>
                  <a:cs typeface="Segoe UI" pitchFamily="34" charset="0"/>
                </a:rPr>
                <a:t>Natural Language Processing</a:t>
              </a:r>
            </a:p>
          </p:txBody>
        </p:sp>
        <p:pic>
          <p:nvPicPr>
            <p:cNvPr id="10" name="Picture 9"/>
            <p:cNvPicPr>
              <a:picLocks noChangeAspect="1"/>
            </p:cNvPicPr>
            <p:nvPr/>
          </p:nvPicPr>
          <p:blipFill rotWithShape="1">
            <a:blip r:embed="rId8" cstate="screen">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rcRect/>
            <a:stretch/>
          </p:blipFill>
          <p:spPr>
            <a:xfrm>
              <a:off x="5004917" y="4247536"/>
              <a:ext cx="2202617" cy="2619218"/>
            </a:xfrm>
            <a:prstGeom prst="rect">
              <a:avLst/>
            </a:prstGeom>
          </p:spPr>
        </p:pic>
        <p:sp>
          <p:nvSpPr>
            <p:cNvPr id="12" name="Rectangle 11"/>
            <p:cNvSpPr/>
            <p:nvPr/>
          </p:nvSpPr>
          <p:spPr bwMode="auto">
            <a:xfrm>
              <a:off x="5004917" y="4247536"/>
              <a:ext cx="2202618" cy="2610463"/>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968325" y="5216280"/>
              <a:ext cx="453180" cy="588924"/>
            </a:xfrm>
            <a:prstGeom prst="rect">
              <a:avLst/>
            </a:prstGeom>
          </p:spPr>
        </p:pic>
      </p:grpSp>
      <p:sp>
        <p:nvSpPr>
          <p:cNvPr id="76" name="Rectangle 75"/>
          <p:cNvSpPr/>
          <p:nvPr/>
        </p:nvSpPr>
        <p:spPr bwMode="auto">
          <a:xfrm>
            <a:off x="883" y="496"/>
            <a:ext cx="12434711" cy="15877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Title 1"/>
          <p:cNvSpPr txBox="1">
            <a:spLocks/>
          </p:cNvSpPr>
          <p:nvPr/>
        </p:nvSpPr>
        <p:spPr>
          <a:xfrm>
            <a:off x="275482" y="329303"/>
            <a:ext cx="11887878" cy="917444"/>
          </a:xfrm>
          <a:prstGeom prst="rect">
            <a:avLst/>
          </a:prstGeom>
        </p:spPr>
        <p:txBody>
          <a:bodyPr vert="horz" wrap="square" lIns="149217" tIns="93260" rIns="149217" bIns="9326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defRPr/>
            </a:pPr>
            <a:r>
              <a:rPr lang="en-US" sz="4284" spc="-102" dirty="0">
                <a:gradFill>
                  <a:gsLst>
                    <a:gs pos="1250">
                      <a:srgbClr val="FFFFFF"/>
                    </a:gs>
                    <a:gs pos="100000">
                      <a:srgbClr val="FFFFFF"/>
                    </a:gs>
                  </a:gsLst>
                  <a:lin ang="5400000" scaled="0"/>
                </a:gradFill>
                <a:latin typeface="Segoe UI Light"/>
              </a:rPr>
              <a:t>Learn and engage with artificial intelligence</a:t>
            </a:r>
          </a:p>
        </p:txBody>
      </p:sp>
      <p:sp>
        <p:nvSpPr>
          <p:cNvPr id="79" name="Freeform 12"/>
          <p:cNvSpPr>
            <a:spLocks noChangeAspect="1" noEditPoints="1"/>
          </p:cNvSpPr>
          <p:nvPr/>
        </p:nvSpPr>
        <p:spPr bwMode="auto">
          <a:xfrm>
            <a:off x="10829309" y="244005"/>
            <a:ext cx="419763" cy="695173"/>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
        <p:nvSpPr>
          <p:cNvPr id="60" name="Rectangle 59"/>
          <p:cNvSpPr/>
          <p:nvPr/>
        </p:nvSpPr>
        <p:spPr>
          <a:xfrm>
            <a:off x="9650735" y="959212"/>
            <a:ext cx="2776910" cy="698790"/>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Data-Driven Intelligence</a:t>
            </a:r>
          </a:p>
          <a:p>
            <a:pPr algn="ctr" defTabSz="932330">
              <a:lnSpc>
                <a:spcPct val="90000"/>
              </a:lnSpc>
              <a:defRPr/>
            </a:pPr>
            <a:endParaRPr lang="en-US" sz="1428" b="1" kern="0" dirty="0">
              <a:ln w="3175">
                <a:noFill/>
              </a:ln>
              <a:solidFill>
                <a:srgbClr val="FFFFFF"/>
              </a:solidFill>
              <a:latin typeface="Segoe UI"/>
              <a:cs typeface="Segoe UI" pitchFamily="34" charset="0"/>
            </a:endParaRPr>
          </a:p>
        </p:txBody>
      </p:sp>
    </p:spTree>
    <p:extLst>
      <p:ext uri="{BB962C8B-B14F-4D97-AF65-F5344CB8AC3E}">
        <p14:creationId xmlns:p14="http://schemas.microsoft.com/office/powerpoint/2010/main" val="1946118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ppt_x"/>
                                          </p:val>
                                        </p:tav>
                                        <p:tav tm="100000">
                                          <p:val>
                                            <p:strVal val="#ppt_x"/>
                                          </p:val>
                                        </p:tav>
                                      </p:tavLst>
                                    </p:anim>
                                    <p:anim calcmode="lin" valueType="num">
                                      <p:cBhvr additive="base">
                                        <p:cTn id="2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882" y="-26471"/>
            <a:ext cx="12434711" cy="7020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882" y="-34551"/>
            <a:ext cx="12434711" cy="70290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2" y="-26471"/>
            <a:ext cx="12434711" cy="7020997"/>
          </a:xfrm>
          <a:prstGeom prst="rect">
            <a:avLst/>
          </a:prstGeom>
        </p:spPr>
      </p:pic>
      <p:sp>
        <p:nvSpPr>
          <p:cNvPr id="31" name="Freeform 5"/>
          <p:cNvSpPr>
            <a:spLocks/>
          </p:cNvSpPr>
          <p:nvPr/>
        </p:nvSpPr>
        <p:spPr bwMode="auto">
          <a:xfrm>
            <a:off x="4208206" y="1554985"/>
            <a:ext cx="732014" cy="75544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632">
              <a:solidFill>
                <a:srgbClr val="505050"/>
              </a:solidFill>
              <a:latin typeface="Segoe UI"/>
            </a:endParaRPr>
          </a:p>
        </p:txBody>
      </p:sp>
      <p:sp>
        <p:nvSpPr>
          <p:cNvPr id="32" name="Freeform 6"/>
          <p:cNvSpPr>
            <a:spLocks noEditPoints="1"/>
          </p:cNvSpPr>
          <p:nvPr/>
        </p:nvSpPr>
        <p:spPr bwMode="auto">
          <a:xfrm>
            <a:off x="10439868" y="1554338"/>
            <a:ext cx="454244" cy="756735"/>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632">
              <a:solidFill>
                <a:srgbClr val="505050"/>
              </a:solidFill>
              <a:latin typeface="Segoe UI"/>
            </a:endParaRPr>
          </a:p>
        </p:txBody>
      </p:sp>
      <p:sp>
        <p:nvSpPr>
          <p:cNvPr id="33" name="Freeform 7"/>
          <p:cNvSpPr>
            <a:spLocks noEditPoints="1"/>
          </p:cNvSpPr>
          <p:nvPr/>
        </p:nvSpPr>
        <p:spPr bwMode="auto">
          <a:xfrm>
            <a:off x="1269099" y="1610211"/>
            <a:ext cx="585590" cy="6449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632">
              <a:solidFill>
                <a:srgbClr val="505050"/>
              </a:solidFill>
              <a:latin typeface="Segoe UI"/>
            </a:endParaRPr>
          </a:p>
        </p:txBody>
      </p:sp>
      <p:sp>
        <p:nvSpPr>
          <p:cNvPr id="34" name="Freeform 8"/>
          <p:cNvSpPr>
            <a:spLocks noEditPoints="1"/>
          </p:cNvSpPr>
          <p:nvPr/>
        </p:nvSpPr>
        <p:spPr bwMode="auto">
          <a:xfrm>
            <a:off x="7332997" y="1668548"/>
            <a:ext cx="772453" cy="528316"/>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632">
              <a:solidFill>
                <a:srgbClr val="505050"/>
              </a:solidFill>
              <a:latin typeface="Segoe UI"/>
            </a:endParaRPr>
          </a:p>
        </p:txBody>
      </p:sp>
      <p:sp>
        <p:nvSpPr>
          <p:cNvPr id="35" name="Rectangle 34"/>
          <p:cNvSpPr/>
          <p:nvPr/>
        </p:nvSpPr>
        <p:spPr>
          <a:xfrm>
            <a:off x="3463078" y="2469148"/>
            <a:ext cx="2210533" cy="546547"/>
          </a:xfrm>
          <a:prstGeom prst="rect">
            <a:avLst/>
          </a:prstGeom>
        </p:spPr>
        <p:txBody>
          <a:bodyPr wrap="square" lIns="182854" tIns="146283" rIns="182854" bIns="146283">
            <a:spAutoFit/>
          </a:bodyPr>
          <a:lstStyle/>
          <a:p>
            <a:pPr algn="ctr" defTabSz="932330">
              <a:defRPr/>
            </a:pPr>
            <a:r>
              <a:rPr lang="en-US" sz="1632" b="1" kern="0">
                <a:ln w="3175">
                  <a:noFill/>
                </a:ln>
                <a:solidFill>
                  <a:srgbClr val="FFFFFF">
                    <a:lumMod val="50000"/>
                  </a:srgbClr>
                </a:solidFill>
                <a:latin typeface="Segoe UI"/>
                <a:cs typeface="Segoe UI" pitchFamily="34" charset="0"/>
              </a:rPr>
              <a:t>Open and Hybrid</a:t>
            </a:r>
          </a:p>
        </p:txBody>
      </p:sp>
      <p:sp>
        <p:nvSpPr>
          <p:cNvPr id="36" name="Rectangle 35"/>
          <p:cNvSpPr/>
          <p:nvPr/>
        </p:nvSpPr>
        <p:spPr>
          <a:xfrm>
            <a:off x="9498591" y="2469147"/>
            <a:ext cx="2335466" cy="807740"/>
          </a:xfrm>
          <a:prstGeom prst="rect">
            <a:avLst/>
          </a:prstGeom>
        </p:spPr>
        <p:txBody>
          <a:bodyPr wrap="square" lIns="182854" tIns="146283" rIns="182854" bIns="146283">
            <a:spAutoFit/>
          </a:bodyPr>
          <a:lstStyle/>
          <a:p>
            <a:pPr algn="ctr" defTabSz="932330">
              <a:defRPr/>
            </a:pPr>
            <a:r>
              <a:rPr lang="en-US" sz="1632" b="1" kern="0" dirty="0">
                <a:ln w="3175">
                  <a:noFill/>
                </a:ln>
                <a:solidFill>
                  <a:srgbClr val="FFFFFF">
                    <a:lumMod val="50000"/>
                  </a:srgbClr>
                </a:solidFill>
                <a:latin typeface="Segoe UI"/>
                <a:cs typeface="Segoe UI" pitchFamily="34" charset="0"/>
              </a:rPr>
              <a:t>Data-Driven Intelligence</a:t>
            </a:r>
          </a:p>
        </p:txBody>
      </p:sp>
      <p:sp>
        <p:nvSpPr>
          <p:cNvPr id="37" name="Rectangle 36"/>
          <p:cNvSpPr/>
          <p:nvPr/>
        </p:nvSpPr>
        <p:spPr>
          <a:xfrm>
            <a:off x="971097" y="2469148"/>
            <a:ext cx="1169848" cy="546547"/>
          </a:xfrm>
          <a:prstGeom prst="rect">
            <a:avLst/>
          </a:prstGeom>
        </p:spPr>
        <p:txBody>
          <a:bodyPr wrap="square" lIns="182854" tIns="146283" rIns="182854" bIns="146283">
            <a:spAutoFit/>
          </a:bodyPr>
          <a:lstStyle/>
          <a:p>
            <a:pPr algn="ctr" defTabSz="932330">
              <a:defRPr/>
            </a:pPr>
            <a:r>
              <a:rPr lang="en-US" sz="1632" b="1" kern="0" dirty="0">
                <a:ln w="3175">
                  <a:noFill/>
                </a:ln>
                <a:solidFill>
                  <a:srgbClr val="FFFFFF">
                    <a:lumMod val="50000"/>
                  </a:srgbClr>
                </a:solidFill>
                <a:latin typeface="Segoe UI"/>
                <a:cs typeface="Segoe UI" pitchFamily="34" charset="0"/>
              </a:rPr>
              <a:t>Trust</a:t>
            </a:r>
          </a:p>
        </p:txBody>
      </p:sp>
      <p:sp>
        <p:nvSpPr>
          <p:cNvPr id="38" name="Rectangle 37"/>
          <p:cNvSpPr/>
          <p:nvPr/>
        </p:nvSpPr>
        <p:spPr>
          <a:xfrm>
            <a:off x="6623899" y="2469148"/>
            <a:ext cx="2273157" cy="546547"/>
          </a:xfrm>
          <a:prstGeom prst="rect">
            <a:avLst/>
          </a:prstGeom>
        </p:spPr>
        <p:txBody>
          <a:bodyPr wrap="square" lIns="182854" tIns="146283" rIns="182854" bIns="146283">
            <a:spAutoFit/>
          </a:bodyPr>
          <a:lstStyle/>
          <a:p>
            <a:pPr algn="ctr" defTabSz="932330">
              <a:defRPr/>
            </a:pPr>
            <a:r>
              <a:rPr lang="en-US" sz="1632" b="1" kern="0" dirty="0">
                <a:ln w="3175">
                  <a:noFill/>
                </a:ln>
                <a:solidFill>
                  <a:srgbClr val="FFFFFF">
                    <a:lumMod val="50000"/>
                  </a:srgbClr>
                </a:solidFill>
                <a:latin typeface="Segoe UI"/>
                <a:cs typeface="Segoe UI" pitchFamily="34" charset="0"/>
              </a:rPr>
              <a:t>App Innovation</a:t>
            </a:r>
          </a:p>
        </p:txBody>
      </p:sp>
    </p:spTree>
    <p:extLst>
      <p:ext uri="{BB962C8B-B14F-4D97-AF65-F5344CB8AC3E}">
        <p14:creationId xmlns:p14="http://schemas.microsoft.com/office/powerpoint/2010/main" val="3955577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72"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strVal val="2/3*#ppt_w"/>
                                          </p:val>
                                        </p:tav>
                                        <p:tav tm="100000">
                                          <p:val>
                                            <p:strVal val="#ppt_w"/>
                                          </p:val>
                                        </p:tav>
                                      </p:tavLst>
                                    </p:anim>
                                    <p:anim calcmode="lin" valueType="num">
                                      <p:cBhvr>
                                        <p:cTn id="8" dur="500" fill="hold"/>
                                        <p:tgtEl>
                                          <p:spTgt spid="31"/>
                                        </p:tgtEl>
                                        <p:attrNameLst>
                                          <p:attrName>ppt_h</p:attrName>
                                        </p:attrNameLst>
                                      </p:cBhvr>
                                      <p:tavLst>
                                        <p:tav tm="0">
                                          <p:val>
                                            <p:strVal val="2/3*#ppt_h"/>
                                          </p:val>
                                        </p:tav>
                                        <p:tav tm="100000">
                                          <p:val>
                                            <p:strVal val="#ppt_h"/>
                                          </p:val>
                                        </p:tav>
                                      </p:tavLst>
                                    </p:anim>
                                  </p:childTnLst>
                                </p:cTn>
                              </p:par>
                              <p:par>
                                <p:cTn id="9" presetID="23" presetClass="entr" presetSubtype="272"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p:cTn id="11" dur="500" fill="hold"/>
                                        <p:tgtEl>
                                          <p:spTgt spid="32"/>
                                        </p:tgtEl>
                                        <p:attrNameLst>
                                          <p:attrName>ppt_w</p:attrName>
                                        </p:attrNameLst>
                                      </p:cBhvr>
                                      <p:tavLst>
                                        <p:tav tm="0">
                                          <p:val>
                                            <p:strVal val="2/3*#ppt_w"/>
                                          </p:val>
                                        </p:tav>
                                        <p:tav tm="100000">
                                          <p:val>
                                            <p:strVal val="#ppt_w"/>
                                          </p:val>
                                        </p:tav>
                                      </p:tavLst>
                                    </p:anim>
                                    <p:anim calcmode="lin" valueType="num">
                                      <p:cBhvr>
                                        <p:cTn id="12" dur="500" fill="hold"/>
                                        <p:tgtEl>
                                          <p:spTgt spid="32"/>
                                        </p:tgtEl>
                                        <p:attrNameLst>
                                          <p:attrName>ppt_h</p:attrName>
                                        </p:attrNameLst>
                                      </p:cBhvr>
                                      <p:tavLst>
                                        <p:tav tm="0">
                                          <p:val>
                                            <p:strVal val="2/3*#ppt_h"/>
                                          </p:val>
                                        </p:tav>
                                        <p:tav tm="100000">
                                          <p:val>
                                            <p:strVal val="#ppt_h"/>
                                          </p:val>
                                        </p:tav>
                                      </p:tavLst>
                                    </p:anim>
                                  </p:childTnLst>
                                </p:cTn>
                              </p:par>
                              <p:par>
                                <p:cTn id="13" presetID="23" presetClass="entr" presetSubtype="272"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p:cTn id="15" dur="500" fill="hold"/>
                                        <p:tgtEl>
                                          <p:spTgt spid="33"/>
                                        </p:tgtEl>
                                        <p:attrNameLst>
                                          <p:attrName>ppt_w</p:attrName>
                                        </p:attrNameLst>
                                      </p:cBhvr>
                                      <p:tavLst>
                                        <p:tav tm="0">
                                          <p:val>
                                            <p:strVal val="2/3*#ppt_w"/>
                                          </p:val>
                                        </p:tav>
                                        <p:tav tm="100000">
                                          <p:val>
                                            <p:strVal val="#ppt_w"/>
                                          </p:val>
                                        </p:tav>
                                      </p:tavLst>
                                    </p:anim>
                                    <p:anim calcmode="lin" valueType="num">
                                      <p:cBhvr>
                                        <p:cTn id="16" dur="500" fill="hold"/>
                                        <p:tgtEl>
                                          <p:spTgt spid="33"/>
                                        </p:tgtEl>
                                        <p:attrNameLst>
                                          <p:attrName>ppt_h</p:attrName>
                                        </p:attrNameLst>
                                      </p:cBhvr>
                                      <p:tavLst>
                                        <p:tav tm="0">
                                          <p:val>
                                            <p:strVal val="2/3*#ppt_h"/>
                                          </p:val>
                                        </p:tav>
                                        <p:tav tm="100000">
                                          <p:val>
                                            <p:strVal val="#ppt_h"/>
                                          </p:val>
                                        </p:tav>
                                      </p:tavLst>
                                    </p:anim>
                                  </p:childTnLst>
                                </p:cTn>
                              </p:par>
                              <p:par>
                                <p:cTn id="17" presetID="23" presetClass="entr" presetSubtype="272"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p:cTn id="19" dur="500" fill="hold"/>
                                        <p:tgtEl>
                                          <p:spTgt spid="34"/>
                                        </p:tgtEl>
                                        <p:attrNameLst>
                                          <p:attrName>ppt_w</p:attrName>
                                        </p:attrNameLst>
                                      </p:cBhvr>
                                      <p:tavLst>
                                        <p:tav tm="0">
                                          <p:val>
                                            <p:strVal val="2/3*#ppt_w"/>
                                          </p:val>
                                        </p:tav>
                                        <p:tav tm="100000">
                                          <p:val>
                                            <p:strVal val="#ppt_w"/>
                                          </p:val>
                                        </p:tav>
                                      </p:tavLst>
                                    </p:anim>
                                    <p:anim calcmode="lin" valueType="num">
                                      <p:cBhvr>
                                        <p:cTn id="20" dur="500" fill="hold"/>
                                        <p:tgtEl>
                                          <p:spTgt spid="34"/>
                                        </p:tgtEl>
                                        <p:attrNameLst>
                                          <p:attrName>ppt_h</p:attrName>
                                        </p:attrNameLst>
                                      </p:cBhvr>
                                      <p:tavLst>
                                        <p:tav tm="0">
                                          <p:val>
                                            <p:strVal val="2/3*#ppt_h"/>
                                          </p:val>
                                        </p:tav>
                                        <p:tav tm="100000">
                                          <p:val>
                                            <p:strVal val="#ppt_h"/>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1000"/>
                                        <p:tgtEl>
                                          <p:spTgt spid="3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1000"/>
                                        <p:tgtEl>
                                          <p:spTgt spid="3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000"/>
                                        <p:tgtEl>
                                          <p:spTgt spid="3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6"/>
                                        </p:tgtEl>
                                        <p:attrNameLst>
                                          <p:attrName>style.visibility</p:attrName>
                                        </p:attrNameLst>
                                      </p:cBhvr>
                                      <p:to>
                                        <p:strVal val="visible"/>
                                      </p:to>
                                    </p:set>
                                    <p:animEffect transition="in" filter="fade">
                                      <p:cBhvr>
                                        <p:cTn id="32"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p:bldP spid="36" grpId="0"/>
      <p:bldP spid="37" grpId="0"/>
      <p:bldP spid="3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Azure Portal Demo</a:t>
            </a:r>
          </a:p>
        </p:txBody>
      </p:sp>
    </p:spTree>
    <p:extLst>
      <p:ext uri="{BB962C8B-B14F-4D97-AF65-F5344CB8AC3E}">
        <p14:creationId xmlns:p14="http://schemas.microsoft.com/office/powerpoint/2010/main" val="3637318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7" descr="C:\Users\kevrem\Documents\Graphics\Microsoft_logo_All_colors\MSFT_logo_rgb_C-Wht.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265" y="98039"/>
            <a:ext cx="5137870" cy="188967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732616" y="1744911"/>
            <a:ext cx="5900677" cy="5024681"/>
          </a:xfrm>
          <a:prstGeom prst="rect">
            <a:avLst/>
          </a:prstGeom>
        </p:spPr>
        <p:txBody>
          <a:bodyPr wrap="square">
            <a:spAutoFit/>
          </a:bodyPr>
          <a:lstStyle/>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Joe Raio</a:t>
            </a: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Senior Technical Evangelist</a:t>
            </a: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DX Audience</a:t>
            </a: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hlinkClick r:id="rId4"/>
              </a:rPr>
              <a:t>joe.raio@microsoft.com</a:t>
            </a:r>
            <a:endParaRPr lang="en-US" sz="2856" dirty="0">
              <a:solidFill>
                <a:srgbClr val="FFFFFF"/>
              </a:solidFill>
              <a:latin typeface="Segoe UI Light" panose="020B0502040204020203" pitchFamily="34" charset="0"/>
              <a:cs typeface="Arial" panose="020B0604020202020204" pitchFamily="34" charset="0"/>
            </a:endParaRP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joeraio.com</a:t>
            </a: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a:t>
            </a:r>
            <a:r>
              <a:rPr lang="en-US" sz="2856" dirty="0" err="1">
                <a:solidFill>
                  <a:srgbClr val="FFFFFF"/>
                </a:solidFill>
                <a:latin typeface="Segoe UI Light" panose="020B0502040204020203" pitchFamily="34" charset="0"/>
                <a:cs typeface="Arial" panose="020B0604020202020204" pitchFamily="34" charset="0"/>
              </a:rPr>
              <a:t>joescars</a:t>
            </a:r>
            <a:endParaRPr lang="en-US" sz="2856" dirty="0">
              <a:solidFill>
                <a:srgbClr val="FFFFFF"/>
              </a:solidFill>
              <a:latin typeface="Segoe UI Light" panose="020B0502040204020203" pitchFamily="34" charset="0"/>
              <a:cs typeface="Arial" panose="020B0604020202020204" pitchFamily="34" charset="0"/>
            </a:endParaRPr>
          </a:p>
          <a:p>
            <a:pPr defTabSz="930620" fontAlgn="base">
              <a:spcBef>
                <a:spcPct val="0"/>
              </a:spcBef>
              <a:spcAft>
                <a:spcPct val="0"/>
              </a:spcAft>
              <a:defRPr/>
            </a:pPr>
            <a:endParaRPr lang="en-US" sz="2856" dirty="0">
              <a:solidFill>
                <a:srgbClr val="FFFFFF"/>
              </a:solidFill>
              <a:latin typeface="Segoe UI Light" panose="020B0502040204020203" pitchFamily="34" charset="0"/>
              <a:cs typeface="Arial" panose="020B0604020202020204" pitchFamily="34" charset="0"/>
            </a:endParaRP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Based in Miami, FL. </a:t>
            </a:r>
          </a:p>
          <a:p>
            <a:pPr defTabSz="930620" fontAlgn="base">
              <a:spcBef>
                <a:spcPct val="0"/>
              </a:spcBef>
              <a:spcAft>
                <a:spcPct val="0"/>
              </a:spcAft>
              <a:defRPr/>
            </a:pPr>
            <a:r>
              <a:rPr lang="en-US" sz="2856" dirty="0">
                <a:solidFill>
                  <a:srgbClr val="FFFFFF"/>
                </a:solidFill>
                <a:latin typeface="Segoe UI Light" panose="020B0502040204020203" pitchFamily="34" charset="0"/>
                <a:cs typeface="Arial" panose="020B0604020202020204" pitchFamily="34" charset="0"/>
              </a:rPr>
              <a:t>Proud father. Passions are Music, Space, Aviation &amp; all things Technology</a:t>
            </a:r>
          </a:p>
        </p:txBody>
      </p:sp>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61643" y="4114033"/>
            <a:ext cx="3179549" cy="2119699"/>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5180203" y="1152583"/>
            <a:ext cx="2906178" cy="2179633"/>
          </a:xfrm>
          <a:prstGeom prst="rect">
            <a:avLst/>
          </a:prstGeom>
        </p:spPr>
      </p:pic>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086310" y="971976"/>
            <a:ext cx="3733370" cy="2488913"/>
          </a:xfrm>
          <a:prstGeom prst="rect">
            <a:avLst/>
          </a:prstGeom>
        </p:spPr>
      </p:pic>
    </p:spTree>
    <p:extLst>
      <p:ext uri="{BB962C8B-B14F-4D97-AF65-F5344CB8AC3E}">
        <p14:creationId xmlns:p14="http://schemas.microsoft.com/office/powerpoint/2010/main" val="197501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1363662"/>
            <a:ext cx="11732434" cy="1563505"/>
          </a:xfrm>
        </p:spPr>
        <p:txBody>
          <a:bodyPr/>
          <a:lstStyle/>
          <a:p>
            <a:pPr>
              <a:spcBef>
                <a:spcPts val="1799"/>
              </a:spcBef>
            </a:pPr>
            <a:r>
              <a:rPr lang="en-US" dirty="0"/>
              <a:t>Azure Trial</a:t>
            </a:r>
            <a:endParaRPr lang="en-US" sz="1999" dirty="0"/>
          </a:p>
          <a:p>
            <a:pPr lvl="1"/>
            <a:r>
              <a:rPr lang="en-US" dirty="0">
                <a:hlinkClick r:id="rId3"/>
              </a:rPr>
              <a:t>http://aka.ms/tryazure</a:t>
            </a:r>
            <a:endParaRPr lang="en-US" dirty="0"/>
          </a:p>
          <a:p>
            <a:pPr lvl="1"/>
            <a:endParaRPr lang="en-US" sz="2800" dirty="0"/>
          </a:p>
        </p:txBody>
      </p:sp>
      <p:sp>
        <p:nvSpPr>
          <p:cNvPr id="2" name="Title 1"/>
          <p:cNvSpPr>
            <a:spLocks noGrp="1"/>
          </p:cNvSpPr>
          <p:nvPr>
            <p:ph type="title"/>
          </p:nvPr>
        </p:nvSpPr>
        <p:spPr/>
        <p:txBody>
          <a:bodyPr/>
          <a:lstStyle/>
          <a:p>
            <a:r>
              <a:rPr lang="en-US" dirty="0"/>
              <a:t>Resource Links</a:t>
            </a:r>
            <a:endParaRPr lang="en-US" sz="4000" dirty="0">
              <a:gradFill>
                <a:gsLst>
                  <a:gs pos="10101">
                    <a:schemeClr val="tx1"/>
                  </a:gs>
                  <a:gs pos="54000">
                    <a:schemeClr val="tx1"/>
                  </a:gs>
                </a:gsLst>
                <a:lin ang="5400000" scaled="0"/>
              </a:gradFill>
            </a:endParaRPr>
          </a:p>
        </p:txBody>
      </p:sp>
    </p:spTree>
    <p:extLst>
      <p:ext uri="{BB962C8B-B14F-4D97-AF65-F5344CB8AC3E}">
        <p14:creationId xmlns:p14="http://schemas.microsoft.com/office/powerpoint/2010/main" val="295022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70513" y="161897"/>
            <a:ext cx="6204924" cy="2461945"/>
          </a:xfrm>
          <a:prstGeom prst="rect">
            <a:avLst/>
          </a:prstGeom>
        </p:spPr>
        <p:txBody>
          <a:bodyPr/>
          <a:lstStyle/>
          <a:p>
            <a:r>
              <a:rPr lang="en-US" dirty="0"/>
              <a:t>Q&amp;A</a:t>
            </a:r>
          </a:p>
        </p:txBody>
      </p:sp>
    </p:spTree>
    <p:extLst>
      <p:ext uri="{BB962C8B-B14F-4D97-AF65-F5344CB8AC3E}">
        <p14:creationId xmlns:p14="http://schemas.microsoft.com/office/powerpoint/2010/main" val="518744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1363662"/>
            <a:ext cx="5941234" cy="2160591"/>
          </a:xfrm>
        </p:spPr>
        <p:txBody>
          <a:bodyPr/>
          <a:lstStyle/>
          <a:p>
            <a:r>
              <a:rPr lang="en-US" sz="4000" dirty="0"/>
              <a:t>Contact Information</a:t>
            </a:r>
          </a:p>
          <a:p>
            <a:pPr lvl="1"/>
            <a:r>
              <a:rPr lang="en-US" sz="2800" dirty="0">
                <a:hlinkClick r:id="rId3"/>
              </a:rPr>
              <a:t>Joe.Raio@Microsoft.com</a:t>
            </a:r>
            <a:endParaRPr lang="en-US" sz="2800" dirty="0"/>
          </a:p>
          <a:p>
            <a:pPr lvl="1"/>
            <a:r>
              <a:rPr lang="en-US" sz="2800" dirty="0">
                <a:hlinkClick r:id="rId4"/>
              </a:rPr>
              <a:t>http://joeraio.com</a:t>
            </a:r>
            <a:endParaRPr lang="en-US" sz="2800" dirty="0"/>
          </a:p>
          <a:p>
            <a:pPr lvl="1"/>
            <a:r>
              <a:rPr lang="en-US" sz="2800" dirty="0"/>
              <a:t>Follow me on twitter @</a:t>
            </a:r>
            <a:r>
              <a:rPr lang="en-US" sz="2800" dirty="0" err="1"/>
              <a:t>joescars</a:t>
            </a:r>
            <a:endParaRPr lang="en-US" sz="2800" dirty="0"/>
          </a:p>
        </p:txBody>
      </p:sp>
      <p:sp>
        <p:nvSpPr>
          <p:cNvPr id="2" name="Title 1"/>
          <p:cNvSpPr>
            <a:spLocks noGrp="1"/>
          </p:cNvSpPr>
          <p:nvPr>
            <p:ph type="title"/>
          </p:nvPr>
        </p:nvSpPr>
        <p:spPr/>
        <p:txBody>
          <a:bodyPr/>
          <a:lstStyle/>
          <a:p>
            <a:r>
              <a:rPr lang="en-US" dirty="0"/>
              <a:t>Keep in touch!</a:t>
            </a:r>
            <a:endParaRPr lang="en-US" sz="4000" dirty="0">
              <a:gradFill>
                <a:gsLst>
                  <a:gs pos="10101">
                    <a:schemeClr val="tx1"/>
                  </a:gs>
                  <a:gs pos="54000">
                    <a:schemeClr val="tx1"/>
                  </a:gs>
                </a:gsLst>
                <a:lin ang="5400000" scaled="0"/>
              </a:gradFill>
            </a:endParaRPr>
          </a:p>
        </p:txBody>
      </p:sp>
      <p:sp>
        <p:nvSpPr>
          <p:cNvPr id="4" name="TextBox 3"/>
          <p:cNvSpPr txBox="1"/>
          <p:nvPr/>
        </p:nvSpPr>
        <p:spPr>
          <a:xfrm>
            <a:off x="6675437" y="1344611"/>
            <a:ext cx="5029200" cy="1148007"/>
          </a:xfrm>
          <a:prstGeom prst="rect">
            <a:avLst/>
          </a:prstGeom>
          <a:noFill/>
        </p:spPr>
        <p:txBody>
          <a:bodyPr wrap="square" lIns="182880" tIns="146304" rIns="182880" bIns="146304" rtlCol="0">
            <a:spAutoFit/>
          </a:bodyPr>
          <a:lstStyle/>
          <a:p>
            <a:pPr marL="0" marR="0" lvl="1"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a:ea typeface="+mn-ea"/>
                <a:cs typeface="+mn-cs"/>
              </a:rPr>
              <a:t>Download this presentation:</a:t>
            </a:r>
          </a:p>
          <a:p>
            <a:pPr marL="0" lvl="1">
              <a:lnSpc>
                <a:spcPct val="90000"/>
              </a:lnSpc>
              <a:spcAft>
                <a:spcPts val="600"/>
              </a:spcAft>
              <a:defRPr/>
            </a:pPr>
            <a:r>
              <a:rPr lang="en-US" sz="2800" dirty="0">
                <a:solidFill>
                  <a:srgbClr val="FFFFFF"/>
                </a:solidFill>
              </a:rPr>
              <a:t>www.slideshare.net/joeraio</a:t>
            </a:r>
            <a:endParaRPr kumimoji="0" lang="en-US" sz="2800" b="0" i="0"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218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82D3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07366" y="-1"/>
            <a:ext cx="11421741" cy="6994525"/>
          </a:xfrm>
          <a:prstGeom prst="rect">
            <a:avLst/>
          </a:prstGeom>
        </p:spPr>
      </p:pic>
      <p:sp>
        <p:nvSpPr>
          <p:cNvPr id="5" name="Rectangle 4"/>
          <p:cNvSpPr/>
          <p:nvPr/>
        </p:nvSpPr>
        <p:spPr bwMode="auto">
          <a:xfrm>
            <a:off x="-2" y="5993427"/>
            <a:ext cx="12436475" cy="1001097"/>
          </a:xfrm>
          <a:prstGeom prst="rect">
            <a:avLst/>
          </a:prstGeom>
          <a:solidFill>
            <a:srgbClr val="282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awayfromthekeyboard.com</a:t>
            </a:r>
          </a:p>
        </p:txBody>
      </p:sp>
    </p:spTree>
    <p:extLst>
      <p:ext uri="{BB962C8B-B14F-4D97-AF65-F5344CB8AC3E}">
        <p14:creationId xmlns:p14="http://schemas.microsoft.com/office/powerpoint/2010/main" val="4652822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33333"/>
        </a:solidFill>
        <a:effectLst/>
      </p:bgPr>
    </p:bg>
    <p:spTree>
      <p:nvGrpSpPr>
        <p:cNvPr id="1" name=""/>
        <p:cNvGrpSpPr/>
        <p:nvPr/>
      </p:nvGrpSpPr>
      <p:grpSpPr>
        <a:xfrm>
          <a:off x="0" y="0"/>
          <a:ext cx="0" cy="0"/>
          <a:chOff x="0" y="0"/>
          <a:chExt cx="0" cy="0"/>
        </a:xfrm>
      </p:grpSpPr>
      <p:sp>
        <p:nvSpPr>
          <p:cNvPr id="5" name="TextBox 4"/>
          <p:cNvSpPr txBox="1"/>
          <p:nvPr/>
        </p:nvSpPr>
        <p:spPr>
          <a:xfrm>
            <a:off x="0" y="6089662"/>
            <a:ext cx="12436475" cy="904863"/>
          </a:xfrm>
          <a:prstGeom prst="rect">
            <a:avLst/>
          </a:prstGeom>
          <a:solidFill>
            <a:srgbClr val="333333"/>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Segoe UI"/>
                <a:ea typeface="+mn-ea"/>
                <a:cs typeface="+mn-cs"/>
              </a:rPr>
              <a:t>http://www.meetup.com/MICMiami/</a:t>
            </a:r>
          </a:p>
        </p:txBody>
      </p:sp>
      <p:pic>
        <p:nvPicPr>
          <p:cNvPr id="2" name="Picture 1"/>
          <p:cNvPicPr>
            <a:picLocks noChangeAspect="1"/>
          </p:cNvPicPr>
          <p:nvPr/>
        </p:nvPicPr>
        <p:blipFill>
          <a:blip r:embed="rId3"/>
          <a:stretch>
            <a:fillRect/>
          </a:stretch>
        </p:blipFill>
        <p:spPr>
          <a:xfrm>
            <a:off x="446087" y="201612"/>
            <a:ext cx="11544300" cy="5886450"/>
          </a:xfrm>
          <a:prstGeom prst="rect">
            <a:avLst/>
          </a:prstGeom>
        </p:spPr>
      </p:pic>
    </p:spTree>
    <p:extLst>
      <p:ext uri="{BB962C8B-B14F-4D97-AF65-F5344CB8AC3E}">
        <p14:creationId xmlns:p14="http://schemas.microsoft.com/office/powerpoint/2010/main" val="9038584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bwMode="auto">
          <a:xfrm>
            <a:off x="882" y="5785055"/>
            <a:ext cx="12434712" cy="1235940"/>
          </a:xfrm>
          <a:prstGeom prst="rect">
            <a:avLst/>
          </a:prstGeom>
          <a:solidFill>
            <a:srgbClr val="000000">
              <a:alpha val="7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p:cNvSpPr/>
          <p:nvPr/>
        </p:nvSpPr>
        <p:spPr bwMode="auto">
          <a:xfrm flipH="1">
            <a:off x="4305841" y="895005"/>
            <a:ext cx="3858803" cy="3858803"/>
          </a:xfrm>
          <a:prstGeom prst="ellipse">
            <a:avLst/>
          </a:prstGeom>
          <a:noFill/>
          <a:ln w="539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Business Trans large"/>
          <p:cNvSpPr txBox="1"/>
          <p:nvPr/>
        </p:nvSpPr>
        <p:spPr>
          <a:xfrm>
            <a:off x="4925275" y="2311492"/>
            <a:ext cx="2619936" cy="82141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a:ln w="3175">
                  <a:noFill/>
                </a:ln>
                <a:solidFill>
                  <a:srgbClr val="001F50"/>
                </a:solidFill>
                <a:latin typeface="Segoe UI"/>
                <a:cs typeface="Segoe UI Semilight" panose="020B0402040204020203" pitchFamily="34" charset="0"/>
              </a:rPr>
              <a:t>Digital transformation</a:t>
            </a:r>
          </a:p>
        </p:txBody>
      </p:sp>
      <p:grpSp>
        <p:nvGrpSpPr>
          <p:cNvPr id="5" name="Group 4"/>
          <p:cNvGrpSpPr/>
          <p:nvPr/>
        </p:nvGrpSpPr>
        <p:grpSpPr>
          <a:xfrm>
            <a:off x="4202405" y="849406"/>
            <a:ext cx="1312170" cy="1312170"/>
            <a:chOff x="3005483" y="2840991"/>
            <a:chExt cx="1312542" cy="1312542"/>
          </a:xfrm>
        </p:grpSpPr>
        <p:sp>
          <p:nvSpPr>
            <p:cNvPr id="92" name="Oval 91"/>
            <p:cNvSpPr/>
            <p:nvPr/>
          </p:nvSpPr>
          <p:spPr bwMode="auto">
            <a:xfrm>
              <a:off x="3005483" y="2840991"/>
              <a:ext cx="1312542" cy="1312542"/>
            </a:xfrm>
            <a:prstGeom prst="ellipse">
              <a:avLst/>
            </a:prstGeom>
            <a:solidFill>
              <a:srgbClr val="F8F8F8"/>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 name="Group 34"/>
            <p:cNvGrpSpPr/>
            <p:nvPr/>
          </p:nvGrpSpPr>
          <p:grpSpPr>
            <a:xfrm>
              <a:off x="3158834" y="2994342"/>
              <a:ext cx="1005840" cy="1005840"/>
              <a:chOff x="2486149" y="3040062"/>
              <a:chExt cx="914400" cy="914400"/>
            </a:xfrm>
          </p:grpSpPr>
          <p:sp>
            <p:nvSpPr>
              <p:cNvPr id="36" name="Oval 35"/>
              <p:cNvSpPr/>
              <p:nvPr/>
            </p:nvSpPr>
            <p:spPr bwMode="auto">
              <a:xfrm>
                <a:off x="2486149" y="3040062"/>
                <a:ext cx="914400" cy="914400"/>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p:cNvGrpSpPr/>
              <p:nvPr/>
            </p:nvGrpSpPr>
            <p:grpSpPr>
              <a:xfrm>
                <a:off x="2718485" y="3301180"/>
                <a:ext cx="449726" cy="392158"/>
                <a:chOff x="2532420" y="3433223"/>
                <a:chExt cx="529777" cy="461962"/>
              </a:xfrm>
            </p:grpSpPr>
            <p:sp>
              <p:nvSpPr>
                <p:cNvPr id="38" name="Freeform 5"/>
                <p:cNvSpPr>
                  <a:spLocks noEditPoints="1"/>
                </p:cNvSpPr>
                <p:nvPr/>
              </p:nvSpPr>
              <p:spPr bwMode="auto">
                <a:xfrm>
                  <a:off x="2671755" y="3476422"/>
                  <a:ext cx="390442" cy="418763"/>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6" y="0"/>
                        <a:pt x="56" y="11"/>
                        <a:pt x="56" y="24"/>
                      </a:cubicBezTo>
                      <a:cubicBezTo>
                        <a:pt x="56" y="32"/>
                        <a:pt x="60" y="39"/>
                        <a:pt x="66" y="43"/>
                      </a:cubicBezTo>
                      <a:cubicBezTo>
                        <a:pt x="59" y="47"/>
                        <a:pt x="54" y="52"/>
                        <a:pt x="51" y="58"/>
                      </a:cubicBezTo>
                      <a:cubicBezTo>
                        <a:pt x="47" y="52"/>
                        <a:pt x="40" y="48"/>
                        <a:pt x="32" y="48"/>
                      </a:cubicBezTo>
                      <a:cubicBezTo>
                        <a:pt x="18" y="48"/>
                        <a:pt x="8" y="59"/>
                        <a:pt x="8" y="72"/>
                      </a:cubicBezTo>
                      <a:cubicBezTo>
                        <a:pt x="8" y="80"/>
                        <a:pt x="12" y="87"/>
                        <a:pt x="18" y="91"/>
                      </a:cubicBezTo>
                      <a:cubicBezTo>
                        <a:pt x="7" y="97"/>
                        <a:pt x="0" y="108"/>
                        <a:pt x="0" y="120"/>
                      </a:cubicBezTo>
                      <a:cubicBezTo>
                        <a:pt x="8" y="120"/>
                        <a:pt x="8" y="120"/>
                        <a:pt x="8" y="120"/>
                      </a:cubicBezTo>
                      <a:cubicBezTo>
                        <a:pt x="8" y="107"/>
                        <a:pt x="18" y="96"/>
                        <a:pt x="32" y="96"/>
                      </a:cubicBezTo>
                      <a:cubicBezTo>
                        <a:pt x="45" y="96"/>
                        <a:pt x="56" y="107"/>
                        <a:pt x="56" y="120"/>
                      </a:cubicBezTo>
                      <a:cubicBezTo>
                        <a:pt x="64" y="120"/>
                        <a:pt x="64" y="120"/>
                        <a:pt x="64" y="120"/>
                      </a:cubicBezTo>
                      <a:cubicBezTo>
                        <a:pt x="64" y="108"/>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60"/>
                        <a:pt x="104" y="49"/>
                        <a:pt x="94" y="43"/>
                      </a:cubicBezTo>
                      <a:close/>
                      <a:moveTo>
                        <a:pt x="32" y="88"/>
                      </a:moveTo>
                      <a:cubicBezTo>
                        <a:pt x="23" y="88"/>
                        <a:pt x="16" y="81"/>
                        <a:pt x="16" y="72"/>
                      </a:cubicBezTo>
                      <a:cubicBezTo>
                        <a:pt x="16" y="63"/>
                        <a:pt x="23" y="56"/>
                        <a:pt x="32" y="56"/>
                      </a:cubicBezTo>
                      <a:cubicBezTo>
                        <a:pt x="41" y="56"/>
                        <a:pt x="48" y="63"/>
                        <a:pt x="48" y="72"/>
                      </a:cubicBezTo>
                      <a:cubicBezTo>
                        <a:pt x="48" y="81"/>
                        <a:pt x="41" y="88"/>
                        <a:pt x="32" y="88"/>
                      </a:cubicBezTo>
                      <a:close/>
                      <a:moveTo>
                        <a:pt x="80" y="40"/>
                      </a:moveTo>
                      <a:cubicBezTo>
                        <a:pt x="71" y="40"/>
                        <a:pt x="64" y="33"/>
                        <a:pt x="64" y="24"/>
                      </a:cubicBezTo>
                      <a:cubicBezTo>
                        <a:pt x="64" y="15"/>
                        <a:pt x="71" y="8"/>
                        <a:pt x="80" y="8"/>
                      </a:cubicBezTo>
                      <a:cubicBezTo>
                        <a:pt x="89" y="8"/>
                        <a:pt x="96" y="15"/>
                        <a:pt x="96" y="24"/>
                      </a:cubicBezTo>
                      <a:cubicBezTo>
                        <a:pt x="96" y="33"/>
                        <a:pt x="89" y="40"/>
                        <a:pt x="80" y="40"/>
                      </a:cubicBezTo>
                      <a:close/>
                    </a:path>
                  </a:pathLst>
                </a:custGeom>
                <a:solidFill>
                  <a:schemeClr val="bg1"/>
                </a:solidFill>
                <a:ln w="6350">
                  <a:solidFill>
                    <a:schemeClr val="accent1"/>
                  </a:solidFill>
                  <a:round/>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39" name="Freeform 6"/>
                <p:cNvSpPr>
                  <a:spLocks noEditPoints="1"/>
                </p:cNvSpPr>
                <p:nvPr/>
              </p:nvSpPr>
              <p:spPr bwMode="auto">
                <a:xfrm>
                  <a:off x="2532420" y="3433223"/>
                  <a:ext cx="303199" cy="170944"/>
                </a:xfrm>
                <a:custGeom>
                  <a:avLst/>
                  <a:gdLst>
                    <a:gd name="T0" fmla="*/ 87 w 87"/>
                    <a:gd name="T1" fmla="*/ 49 h 49"/>
                    <a:gd name="T2" fmla="*/ 19 w 87"/>
                    <a:gd name="T3" fmla="*/ 49 h 49"/>
                    <a:gd name="T4" fmla="*/ 0 w 87"/>
                    <a:gd name="T5" fmla="*/ 30 h 49"/>
                    <a:gd name="T6" fmla="*/ 0 w 87"/>
                    <a:gd name="T7" fmla="*/ 19 h 49"/>
                    <a:gd name="T8" fmla="*/ 19 w 87"/>
                    <a:gd name="T9" fmla="*/ 0 h 49"/>
                    <a:gd name="T10" fmla="*/ 49 w 87"/>
                    <a:gd name="T11" fmla="*/ 0 h 49"/>
                    <a:gd name="T12" fmla="*/ 68 w 87"/>
                    <a:gd name="T13" fmla="*/ 19 h 49"/>
                    <a:gd name="T14" fmla="*/ 68 w 87"/>
                    <a:gd name="T15" fmla="*/ 28 h 49"/>
                    <a:gd name="T16" fmla="*/ 87 w 87"/>
                    <a:gd name="T17" fmla="*/ 49 h 49"/>
                    <a:gd name="T18" fmla="*/ 19 w 87"/>
                    <a:gd name="T19" fmla="*/ 8 h 49"/>
                    <a:gd name="T20" fmla="*/ 8 w 87"/>
                    <a:gd name="T21" fmla="*/ 19 h 49"/>
                    <a:gd name="T22" fmla="*/ 8 w 87"/>
                    <a:gd name="T23" fmla="*/ 30 h 49"/>
                    <a:gd name="T24" fmla="*/ 19 w 87"/>
                    <a:gd name="T25" fmla="*/ 41 h 49"/>
                    <a:gd name="T26" fmla="*/ 69 w 87"/>
                    <a:gd name="T27" fmla="*/ 41 h 49"/>
                    <a:gd name="T28" fmla="*/ 60 w 87"/>
                    <a:gd name="T29" fmla="*/ 31 h 49"/>
                    <a:gd name="T30" fmla="*/ 60 w 87"/>
                    <a:gd name="T31" fmla="*/ 19 h 49"/>
                    <a:gd name="T32" fmla="*/ 49 w 87"/>
                    <a:gd name="T33" fmla="*/ 8 h 49"/>
                    <a:gd name="T34" fmla="*/ 19 w 87"/>
                    <a:gd name="T35"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49">
                      <a:moveTo>
                        <a:pt x="87" y="49"/>
                      </a:moveTo>
                      <a:cubicBezTo>
                        <a:pt x="19" y="49"/>
                        <a:pt x="19" y="49"/>
                        <a:pt x="19" y="49"/>
                      </a:cubicBezTo>
                      <a:cubicBezTo>
                        <a:pt x="9" y="49"/>
                        <a:pt x="0" y="41"/>
                        <a:pt x="0" y="30"/>
                      </a:cubicBezTo>
                      <a:cubicBezTo>
                        <a:pt x="0" y="19"/>
                        <a:pt x="0" y="19"/>
                        <a:pt x="0" y="19"/>
                      </a:cubicBezTo>
                      <a:cubicBezTo>
                        <a:pt x="0" y="9"/>
                        <a:pt x="9" y="0"/>
                        <a:pt x="19" y="0"/>
                      </a:cubicBezTo>
                      <a:cubicBezTo>
                        <a:pt x="49" y="0"/>
                        <a:pt x="49" y="0"/>
                        <a:pt x="49" y="0"/>
                      </a:cubicBezTo>
                      <a:cubicBezTo>
                        <a:pt x="60" y="0"/>
                        <a:pt x="68" y="9"/>
                        <a:pt x="68" y="19"/>
                      </a:cubicBezTo>
                      <a:cubicBezTo>
                        <a:pt x="68" y="28"/>
                        <a:pt x="68" y="28"/>
                        <a:pt x="68" y="28"/>
                      </a:cubicBezTo>
                      <a:lnTo>
                        <a:pt x="87" y="49"/>
                      </a:lnTo>
                      <a:close/>
                      <a:moveTo>
                        <a:pt x="19" y="8"/>
                      </a:moveTo>
                      <a:cubicBezTo>
                        <a:pt x="13" y="8"/>
                        <a:pt x="8" y="13"/>
                        <a:pt x="8" y="19"/>
                      </a:cubicBezTo>
                      <a:cubicBezTo>
                        <a:pt x="8" y="30"/>
                        <a:pt x="8" y="30"/>
                        <a:pt x="8" y="30"/>
                      </a:cubicBezTo>
                      <a:cubicBezTo>
                        <a:pt x="8" y="36"/>
                        <a:pt x="13" y="41"/>
                        <a:pt x="19" y="41"/>
                      </a:cubicBezTo>
                      <a:cubicBezTo>
                        <a:pt x="69" y="41"/>
                        <a:pt x="69" y="41"/>
                        <a:pt x="69" y="41"/>
                      </a:cubicBezTo>
                      <a:cubicBezTo>
                        <a:pt x="60" y="31"/>
                        <a:pt x="60" y="31"/>
                        <a:pt x="60" y="31"/>
                      </a:cubicBezTo>
                      <a:cubicBezTo>
                        <a:pt x="60" y="19"/>
                        <a:pt x="60" y="19"/>
                        <a:pt x="60" y="19"/>
                      </a:cubicBezTo>
                      <a:cubicBezTo>
                        <a:pt x="60" y="13"/>
                        <a:pt x="55" y="8"/>
                        <a:pt x="49" y="8"/>
                      </a:cubicBezTo>
                      <a:lnTo>
                        <a:pt x="19" y="8"/>
                      </a:lnTo>
                      <a:close/>
                    </a:path>
                  </a:pathLst>
                </a:custGeom>
                <a:solidFill>
                  <a:schemeClr val="bg1"/>
                </a:solidFill>
                <a:ln w="6350">
                  <a:solidFill>
                    <a:schemeClr val="accent1"/>
                  </a:solidFill>
                  <a:round/>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grpSp>
        </p:grpSp>
      </p:grpSp>
      <p:sp>
        <p:nvSpPr>
          <p:cNvPr id="85" name="Freeform 84"/>
          <p:cNvSpPr>
            <a:spLocks/>
          </p:cNvSpPr>
          <p:nvPr/>
        </p:nvSpPr>
        <p:spPr bwMode="auto">
          <a:xfrm rot="6858978" flipH="1" flipV="1">
            <a:off x="4411497" y="1978192"/>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p:cNvGrpSpPr/>
          <p:nvPr/>
        </p:nvGrpSpPr>
        <p:grpSpPr>
          <a:xfrm>
            <a:off x="4202405" y="3355847"/>
            <a:ext cx="1312170" cy="1312170"/>
            <a:chOff x="3737678" y="5144754"/>
            <a:chExt cx="1312542" cy="1312542"/>
          </a:xfrm>
        </p:grpSpPr>
        <p:sp>
          <p:nvSpPr>
            <p:cNvPr id="97" name="Oval 96"/>
            <p:cNvSpPr/>
            <p:nvPr/>
          </p:nvSpPr>
          <p:spPr bwMode="auto">
            <a:xfrm>
              <a:off x="3737678" y="5144754"/>
              <a:ext cx="1312542" cy="1312542"/>
            </a:xfrm>
            <a:prstGeom prst="ellipse">
              <a:avLst/>
            </a:prstGeom>
            <a:solidFill>
              <a:srgbClr val="F8F8F8"/>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0" name="Group 39"/>
            <p:cNvGrpSpPr/>
            <p:nvPr/>
          </p:nvGrpSpPr>
          <p:grpSpPr>
            <a:xfrm>
              <a:off x="3891029" y="5301378"/>
              <a:ext cx="1005840" cy="1005840"/>
              <a:chOff x="4669408" y="3040062"/>
              <a:chExt cx="914400" cy="914400"/>
            </a:xfrm>
          </p:grpSpPr>
          <p:sp>
            <p:nvSpPr>
              <p:cNvPr id="41" name="Oval 40"/>
              <p:cNvSpPr/>
              <p:nvPr/>
            </p:nvSpPr>
            <p:spPr bwMode="auto">
              <a:xfrm>
                <a:off x="4669408" y="3040062"/>
                <a:ext cx="914400" cy="914400"/>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2" name="Group 41"/>
              <p:cNvGrpSpPr/>
              <p:nvPr/>
            </p:nvGrpSpPr>
            <p:grpSpPr>
              <a:xfrm>
                <a:off x="4944841" y="3264392"/>
                <a:ext cx="363534" cy="465739"/>
                <a:chOff x="4744392" y="3360420"/>
                <a:chExt cx="428242" cy="548640"/>
              </a:xfrm>
            </p:grpSpPr>
            <p:sp>
              <p:nvSpPr>
                <p:cNvPr id="43" name="Freeform 49"/>
                <p:cNvSpPr>
                  <a:spLocks noEditPoints="1"/>
                </p:cNvSpPr>
                <p:nvPr/>
              </p:nvSpPr>
              <p:spPr bwMode="auto">
                <a:xfrm>
                  <a:off x="4744392" y="3360420"/>
                  <a:ext cx="167995" cy="548640"/>
                </a:xfrm>
                <a:custGeom>
                  <a:avLst/>
                  <a:gdLst>
                    <a:gd name="T0" fmla="*/ 30 w 38"/>
                    <a:gd name="T1" fmla="*/ 70 h 126"/>
                    <a:gd name="T2" fmla="*/ 38 w 38"/>
                    <a:gd name="T3" fmla="*/ 70 h 126"/>
                    <a:gd name="T4" fmla="*/ 38 w 38"/>
                    <a:gd name="T5" fmla="*/ 64 h 126"/>
                    <a:gd name="T6" fmla="*/ 22 w 38"/>
                    <a:gd name="T7" fmla="*/ 64 h 126"/>
                    <a:gd name="T8" fmla="*/ 22 w 38"/>
                    <a:gd name="T9" fmla="*/ 27 h 126"/>
                    <a:gd name="T10" fmla="*/ 30 w 38"/>
                    <a:gd name="T11" fmla="*/ 19 h 126"/>
                    <a:gd name="T12" fmla="*/ 30 w 38"/>
                    <a:gd name="T13" fmla="*/ 0 h 126"/>
                    <a:gd name="T14" fmla="*/ 8 w 38"/>
                    <a:gd name="T15" fmla="*/ 0 h 126"/>
                    <a:gd name="T16" fmla="*/ 8 w 38"/>
                    <a:gd name="T17" fmla="*/ 19 h 126"/>
                    <a:gd name="T18" fmla="*/ 16 w 38"/>
                    <a:gd name="T19" fmla="*/ 27 h 126"/>
                    <a:gd name="T20" fmla="*/ 16 w 38"/>
                    <a:gd name="T21" fmla="*/ 64 h 126"/>
                    <a:gd name="T22" fmla="*/ 0 w 38"/>
                    <a:gd name="T23" fmla="*/ 64 h 126"/>
                    <a:gd name="T24" fmla="*/ 0 w 38"/>
                    <a:gd name="T25" fmla="*/ 70 h 126"/>
                    <a:gd name="T26" fmla="*/ 8 w 38"/>
                    <a:gd name="T27" fmla="*/ 70 h 126"/>
                    <a:gd name="T28" fmla="*/ 8 w 38"/>
                    <a:gd name="T29" fmla="*/ 115 h 126"/>
                    <a:gd name="T30" fmla="*/ 19 w 38"/>
                    <a:gd name="T31" fmla="*/ 126 h 126"/>
                    <a:gd name="T32" fmla="*/ 30 w 38"/>
                    <a:gd name="T33" fmla="*/ 115 h 126"/>
                    <a:gd name="T34" fmla="*/ 30 w 38"/>
                    <a:gd name="T35" fmla="*/ 70 h 126"/>
                    <a:gd name="T36" fmla="*/ 14 w 38"/>
                    <a:gd name="T37" fmla="*/ 16 h 126"/>
                    <a:gd name="T38" fmla="*/ 14 w 38"/>
                    <a:gd name="T39" fmla="*/ 6 h 126"/>
                    <a:gd name="T40" fmla="*/ 24 w 38"/>
                    <a:gd name="T41" fmla="*/ 6 h 126"/>
                    <a:gd name="T42" fmla="*/ 24 w 38"/>
                    <a:gd name="T43" fmla="*/ 16 h 126"/>
                    <a:gd name="T44" fmla="*/ 19 w 38"/>
                    <a:gd name="T45" fmla="*/ 21 h 126"/>
                    <a:gd name="T46" fmla="*/ 14 w 38"/>
                    <a:gd name="T47" fmla="*/ 16 h 126"/>
                    <a:gd name="T48" fmla="*/ 24 w 38"/>
                    <a:gd name="T49" fmla="*/ 115 h 126"/>
                    <a:gd name="T50" fmla="*/ 19 w 38"/>
                    <a:gd name="T51" fmla="*/ 120 h 126"/>
                    <a:gd name="T52" fmla="*/ 14 w 38"/>
                    <a:gd name="T53" fmla="*/ 115 h 126"/>
                    <a:gd name="T54" fmla="*/ 14 w 38"/>
                    <a:gd name="T55" fmla="*/ 70 h 126"/>
                    <a:gd name="T56" fmla="*/ 24 w 38"/>
                    <a:gd name="T57" fmla="*/ 70 h 126"/>
                    <a:gd name="T58" fmla="*/ 24 w 38"/>
                    <a:gd name="T59" fmla="*/ 11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126">
                      <a:moveTo>
                        <a:pt x="30" y="70"/>
                      </a:moveTo>
                      <a:cubicBezTo>
                        <a:pt x="38" y="70"/>
                        <a:pt x="38" y="70"/>
                        <a:pt x="38" y="70"/>
                      </a:cubicBezTo>
                      <a:cubicBezTo>
                        <a:pt x="38" y="64"/>
                        <a:pt x="38" y="64"/>
                        <a:pt x="38" y="64"/>
                      </a:cubicBezTo>
                      <a:cubicBezTo>
                        <a:pt x="22" y="64"/>
                        <a:pt x="22" y="64"/>
                        <a:pt x="22" y="64"/>
                      </a:cubicBezTo>
                      <a:cubicBezTo>
                        <a:pt x="22" y="27"/>
                        <a:pt x="22" y="27"/>
                        <a:pt x="22" y="27"/>
                      </a:cubicBezTo>
                      <a:cubicBezTo>
                        <a:pt x="30" y="19"/>
                        <a:pt x="30" y="19"/>
                        <a:pt x="30" y="19"/>
                      </a:cubicBezTo>
                      <a:cubicBezTo>
                        <a:pt x="30" y="0"/>
                        <a:pt x="30" y="0"/>
                        <a:pt x="30" y="0"/>
                      </a:cubicBezTo>
                      <a:cubicBezTo>
                        <a:pt x="8" y="0"/>
                        <a:pt x="8" y="0"/>
                        <a:pt x="8" y="0"/>
                      </a:cubicBezTo>
                      <a:cubicBezTo>
                        <a:pt x="8" y="19"/>
                        <a:pt x="8" y="19"/>
                        <a:pt x="8" y="19"/>
                      </a:cubicBezTo>
                      <a:cubicBezTo>
                        <a:pt x="16" y="27"/>
                        <a:pt x="16" y="27"/>
                        <a:pt x="16" y="27"/>
                      </a:cubicBezTo>
                      <a:cubicBezTo>
                        <a:pt x="16" y="64"/>
                        <a:pt x="16" y="64"/>
                        <a:pt x="16" y="64"/>
                      </a:cubicBezTo>
                      <a:cubicBezTo>
                        <a:pt x="0" y="64"/>
                        <a:pt x="0" y="64"/>
                        <a:pt x="0" y="64"/>
                      </a:cubicBezTo>
                      <a:cubicBezTo>
                        <a:pt x="0" y="70"/>
                        <a:pt x="0" y="70"/>
                        <a:pt x="0" y="70"/>
                      </a:cubicBezTo>
                      <a:cubicBezTo>
                        <a:pt x="8" y="70"/>
                        <a:pt x="8" y="70"/>
                        <a:pt x="8" y="70"/>
                      </a:cubicBezTo>
                      <a:cubicBezTo>
                        <a:pt x="8" y="115"/>
                        <a:pt x="8" y="115"/>
                        <a:pt x="8" y="115"/>
                      </a:cubicBezTo>
                      <a:cubicBezTo>
                        <a:pt x="8" y="121"/>
                        <a:pt x="13" y="126"/>
                        <a:pt x="19" y="126"/>
                      </a:cubicBezTo>
                      <a:cubicBezTo>
                        <a:pt x="25" y="126"/>
                        <a:pt x="30" y="121"/>
                        <a:pt x="30" y="115"/>
                      </a:cubicBezTo>
                      <a:lnTo>
                        <a:pt x="30" y="70"/>
                      </a:lnTo>
                      <a:close/>
                      <a:moveTo>
                        <a:pt x="14" y="16"/>
                      </a:moveTo>
                      <a:cubicBezTo>
                        <a:pt x="14" y="6"/>
                        <a:pt x="14" y="6"/>
                        <a:pt x="14" y="6"/>
                      </a:cubicBezTo>
                      <a:cubicBezTo>
                        <a:pt x="24" y="6"/>
                        <a:pt x="24" y="6"/>
                        <a:pt x="24" y="6"/>
                      </a:cubicBezTo>
                      <a:cubicBezTo>
                        <a:pt x="24" y="16"/>
                        <a:pt x="24" y="16"/>
                        <a:pt x="24" y="16"/>
                      </a:cubicBezTo>
                      <a:cubicBezTo>
                        <a:pt x="19" y="21"/>
                        <a:pt x="19" y="21"/>
                        <a:pt x="19" y="21"/>
                      </a:cubicBezTo>
                      <a:lnTo>
                        <a:pt x="14" y="16"/>
                      </a:lnTo>
                      <a:close/>
                      <a:moveTo>
                        <a:pt x="24" y="115"/>
                      </a:moveTo>
                      <a:cubicBezTo>
                        <a:pt x="24" y="118"/>
                        <a:pt x="22" y="120"/>
                        <a:pt x="19" y="120"/>
                      </a:cubicBezTo>
                      <a:cubicBezTo>
                        <a:pt x="16" y="120"/>
                        <a:pt x="14" y="118"/>
                        <a:pt x="14" y="115"/>
                      </a:cubicBezTo>
                      <a:cubicBezTo>
                        <a:pt x="14" y="70"/>
                        <a:pt x="14" y="70"/>
                        <a:pt x="14" y="70"/>
                      </a:cubicBezTo>
                      <a:cubicBezTo>
                        <a:pt x="24" y="70"/>
                        <a:pt x="24" y="70"/>
                        <a:pt x="24" y="70"/>
                      </a:cubicBezTo>
                      <a:lnTo>
                        <a:pt x="24" y="115"/>
                      </a:lnTo>
                      <a:close/>
                    </a:path>
                  </a:pathLst>
                </a:custGeom>
                <a:solidFill>
                  <a:schemeClr val="bg1"/>
                </a:solidFill>
                <a:ln w="6350">
                  <a:solidFill>
                    <a:schemeClr val="accent1"/>
                  </a:solidFill>
                </a:ln>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44" name="Freeform 50"/>
                <p:cNvSpPr>
                  <a:spLocks noEditPoints="1"/>
                </p:cNvSpPr>
                <p:nvPr/>
              </p:nvSpPr>
              <p:spPr bwMode="auto">
                <a:xfrm>
                  <a:off x="4970614" y="3360420"/>
                  <a:ext cx="202020" cy="548640"/>
                </a:xfrm>
                <a:custGeom>
                  <a:avLst/>
                  <a:gdLst>
                    <a:gd name="T0" fmla="*/ 34 w 46"/>
                    <a:gd name="T1" fmla="*/ 43 h 126"/>
                    <a:gd name="T2" fmla="*/ 35 w 46"/>
                    <a:gd name="T3" fmla="*/ 43 h 126"/>
                    <a:gd name="T4" fmla="*/ 46 w 46"/>
                    <a:gd name="T5" fmla="*/ 23 h 126"/>
                    <a:gd name="T6" fmla="*/ 23 w 46"/>
                    <a:gd name="T7" fmla="*/ 0 h 126"/>
                    <a:gd name="T8" fmla="*/ 0 w 46"/>
                    <a:gd name="T9" fmla="*/ 23 h 126"/>
                    <a:gd name="T10" fmla="*/ 12 w 46"/>
                    <a:gd name="T11" fmla="*/ 43 h 126"/>
                    <a:gd name="T12" fmla="*/ 12 w 46"/>
                    <a:gd name="T13" fmla="*/ 43 h 126"/>
                    <a:gd name="T14" fmla="*/ 12 w 46"/>
                    <a:gd name="T15" fmla="*/ 115 h 126"/>
                    <a:gd name="T16" fmla="*/ 23 w 46"/>
                    <a:gd name="T17" fmla="*/ 126 h 126"/>
                    <a:gd name="T18" fmla="*/ 34 w 46"/>
                    <a:gd name="T19" fmla="*/ 115 h 126"/>
                    <a:gd name="T20" fmla="*/ 34 w 46"/>
                    <a:gd name="T21" fmla="*/ 43 h 126"/>
                    <a:gd name="T22" fmla="*/ 30 w 46"/>
                    <a:gd name="T23" fmla="*/ 39 h 126"/>
                    <a:gd name="T24" fmla="*/ 28 w 46"/>
                    <a:gd name="T25" fmla="*/ 39 h 126"/>
                    <a:gd name="T26" fmla="*/ 28 w 46"/>
                    <a:gd name="T27" fmla="*/ 115 h 126"/>
                    <a:gd name="T28" fmla="*/ 23 w 46"/>
                    <a:gd name="T29" fmla="*/ 120 h 126"/>
                    <a:gd name="T30" fmla="*/ 18 w 46"/>
                    <a:gd name="T31" fmla="*/ 115 h 126"/>
                    <a:gd name="T32" fmla="*/ 18 w 46"/>
                    <a:gd name="T33" fmla="*/ 39 h 126"/>
                    <a:gd name="T34" fmla="*/ 16 w 46"/>
                    <a:gd name="T35" fmla="*/ 39 h 126"/>
                    <a:gd name="T36" fmla="*/ 6 w 46"/>
                    <a:gd name="T37" fmla="*/ 23 h 126"/>
                    <a:gd name="T38" fmla="*/ 19 w 46"/>
                    <a:gd name="T39" fmla="*/ 7 h 126"/>
                    <a:gd name="T40" fmla="*/ 20 w 46"/>
                    <a:gd name="T41" fmla="*/ 6 h 126"/>
                    <a:gd name="T42" fmla="*/ 20 w 46"/>
                    <a:gd name="T43" fmla="*/ 19 h 126"/>
                    <a:gd name="T44" fmla="*/ 23 w 46"/>
                    <a:gd name="T45" fmla="*/ 22 h 126"/>
                    <a:gd name="T46" fmla="*/ 26 w 46"/>
                    <a:gd name="T47" fmla="*/ 19 h 126"/>
                    <a:gd name="T48" fmla="*/ 26 w 46"/>
                    <a:gd name="T49" fmla="*/ 6 h 126"/>
                    <a:gd name="T50" fmla="*/ 27 w 46"/>
                    <a:gd name="T51" fmla="*/ 7 h 126"/>
                    <a:gd name="T52" fmla="*/ 40 w 46"/>
                    <a:gd name="T53" fmla="*/ 23 h 126"/>
                    <a:gd name="T54" fmla="*/ 30 w 46"/>
                    <a:gd name="T55" fmla="*/ 3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26">
                      <a:moveTo>
                        <a:pt x="34" y="43"/>
                      </a:moveTo>
                      <a:cubicBezTo>
                        <a:pt x="35" y="43"/>
                        <a:pt x="35" y="43"/>
                        <a:pt x="35" y="43"/>
                      </a:cubicBezTo>
                      <a:cubicBezTo>
                        <a:pt x="42" y="39"/>
                        <a:pt x="46" y="31"/>
                        <a:pt x="46" y="23"/>
                      </a:cubicBezTo>
                      <a:cubicBezTo>
                        <a:pt x="46" y="10"/>
                        <a:pt x="36" y="0"/>
                        <a:pt x="23" y="0"/>
                      </a:cubicBezTo>
                      <a:cubicBezTo>
                        <a:pt x="10" y="0"/>
                        <a:pt x="0" y="10"/>
                        <a:pt x="0" y="23"/>
                      </a:cubicBezTo>
                      <a:cubicBezTo>
                        <a:pt x="0" y="31"/>
                        <a:pt x="4" y="39"/>
                        <a:pt x="12" y="43"/>
                      </a:cubicBezTo>
                      <a:cubicBezTo>
                        <a:pt x="12" y="43"/>
                        <a:pt x="12" y="43"/>
                        <a:pt x="12" y="43"/>
                      </a:cubicBezTo>
                      <a:cubicBezTo>
                        <a:pt x="12" y="115"/>
                        <a:pt x="12" y="115"/>
                        <a:pt x="12" y="115"/>
                      </a:cubicBezTo>
                      <a:cubicBezTo>
                        <a:pt x="12" y="121"/>
                        <a:pt x="17" y="126"/>
                        <a:pt x="23" y="126"/>
                      </a:cubicBezTo>
                      <a:cubicBezTo>
                        <a:pt x="29" y="126"/>
                        <a:pt x="34" y="121"/>
                        <a:pt x="34" y="115"/>
                      </a:cubicBezTo>
                      <a:lnTo>
                        <a:pt x="34" y="43"/>
                      </a:lnTo>
                      <a:close/>
                      <a:moveTo>
                        <a:pt x="30" y="39"/>
                      </a:moveTo>
                      <a:cubicBezTo>
                        <a:pt x="28" y="39"/>
                        <a:pt x="28" y="39"/>
                        <a:pt x="28" y="39"/>
                      </a:cubicBezTo>
                      <a:cubicBezTo>
                        <a:pt x="28" y="115"/>
                        <a:pt x="28" y="115"/>
                        <a:pt x="28" y="115"/>
                      </a:cubicBezTo>
                      <a:cubicBezTo>
                        <a:pt x="28" y="118"/>
                        <a:pt x="26" y="120"/>
                        <a:pt x="23" y="120"/>
                      </a:cubicBezTo>
                      <a:cubicBezTo>
                        <a:pt x="20" y="120"/>
                        <a:pt x="18" y="118"/>
                        <a:pt x="18" y="115"/>
                      </a:cubicBezTo>
                      <a:cubicBezTo>
                        <a:pt x="18" y="39"/>
                        <a:pt x="18" y="39"/>
                        <a:pt x="18" y="39"/>
                      </a:cubicBezTo>
                      <a:cubicBezTo>
                        <a:pt x="16" y="39"/>
                        <a:pt x="16" y="39"/>
                        <a:pt x="16" y="39"/>
                      </a:cubicBezTo>
                      <a:cubicBezTo>
                        <a:pt x="10" y="36"/>
                        <a:pt x="6" y="30"/>
                        <a:pt x="6" y="23"/>
                      </a:cubicBezTo>
                      <a:cubicBezTo>
                        <a:pt x="6" y="15"/>
                        <a:pt x="11" y="9"/>
                        <a:pt x="19" y="7"/>
                      </a:cubicBezTo>
                      <a:cubicBezTo>
                        <a:pt x="20" y="6"/>
                        <a:pt x="20" y="6"/>
                        <a:pt x="20" y="6"/>
                      </a:cubicBezTo>
                      <a:cubicBezTo>
                        <a:pt x="20" y="19"/>
                        <a:pt x="20" y="19"/>
                        <a:pt x="20" y="19"/>
                      </a:cubicBezTo>
                      <a:cubicBezTo>
                        <a:pt x="20" y="21"/>
                        <a:pt x="21" y="22"/>
                        <a:pt x="23" y="22"/>
                      </a:cubicBezTo>
                      <a:cubicBezTo>
                        <a:pt x="25" y="22"/>
                        <a:pt x="26" y="21"/>
                        <a:pt x="26" y="19"/>
                      </a:cubicBezTo>
                      <a:cubicBezTo>
                        <a:pt x="26" y="6"/>
                        <a:pt x="26" y="6"/>
                        <a:pt x="26" y="6"/>
                      </a:cubicBezTo>
                      <a:cubicBezTo>
                        <a:pt x="27" y="7"/>
                        <a:pt x="27" y="7"/>
                        <a:pt x="27" y="7"/>
                      </a:cubicBezTo>
                      <a:cubicBezTo>
                        <a:pt x="35" y="9"/>
                        <a:pt x="40" y="15"/>
                        <a:pt x="40" y="23"/>
                      </a:cubicBezTo>
                      <a:cubicBezTo>
                        <a:pt x="40" y="30"/>
                        <a:pt x="36" y="36"/>
                        <a:pt x="30" y="39"/>
                      </a:cubicBezTo>
                      <a:close/>
                    </a:path>
                  </a:pathLst>
                </a:custGeom>
                <a:solidFill>
                  <a:schemeClr val="bg1"/>
                </a:solidFill>
                <a:ln w="6350">
                  <a:solidFill>
                    <a:schemeClr val="accent1"/>
                  </a:solidFill>
                </a:ln>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grpSp>
        </p:grpSp>
      </p:grpSp>
      <p:grpSp>
        <p:nvGrpSpPr>
          <p:cNvPr id="7" name="Group 6"/>
          <p:cNvGrpSpPr/>
          <p:nvPr/>
        </p:nvGrpSpPr>
        <p:grpSpPr>
          <a:xfrm>
            <a:off x="6909622" y="3355847"/>
            <a:ext cx="1312170" cy="1312170"/>
            <a:chOff x="7334115" y="5131475"/>
            <a:chExt cx="1312542" cy="1312542"/>
          </a:xfrm>
        </p:grpSpPr>
        <p:sp>
          <p:nvSpPr>
            <p:cNvPr id="98" name="Oval 97"/>
            <p:cNvSpPr/>
            <p:nvPr/>
          </p:nvSpPr>
          <p:spPr bwMode="auto">
            <a:xfrm>
              <a:off x="7334115" y="5131475"/>
              <a:ext cx="1312542" cy="1312542"/>
            </a:xfrm>
            <a:prstGeom prst="ellipse">
              <a:avLst/>
            </a:prstGeom>
            <a:solidFill>
              <a:srgbClr val="F8F8F8"/>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Oval 45"/>
            <p:cNvSpPr/>
            <p:nvPr/>
          </p:nvSpPr>
          <p:spPr bwMode="auto">
            <a:xfrm>
              <a:off x="7487466" y="5284826"/>
              <a:ext cx="1005840" cy="1005840"/>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5" name="Freeform 94"/>
          <p:cNvSpPr>
            <a:spLocks/>
          </p:cNvSpPr>
          <p:nvPr/>
        </p:nvSpPr>
        <p:spPr bwMode="auto">
          <a:xfrm rot="18758123" flipH="1" flipV="1">
            <a:off x="7973211" y="3420365"/>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6909622" y="849406"/>
            <a:ext cx="1312170" cy="1312170"/>
            <a:chOff x="8201004" y="2849271"/>
            <a:chExt cx="1312542" cy="1312542"/>
          </a:xfrm>
        </p:grpSpPr>
        <p:sp>
          <p:nvSpPr>
            <p:cNvPr id="99" name="Oval 98"/>
            <p:cNvSpPr/>
            <p:nvPr/>
          </p:nvSpPr>
          <p:spPr bwMode="auto">
            <a:xfrm>
              <a:off x="8201004" y="2849271"/>
              <a:ext cx="1312542" cy="1312542"/>
            </a:xfrm>
            <a:prstGeom prst="ellipse">
              <a:avLst/>
            </a:prstGeom>
            <a:solidFill>
              <a:srgbClr val="F8F8F8"/>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0" name="Group 59"/>
            <p:cNvGrpSpPr/>
            <p:nvPr/>
          </p:nvGrpSpPr>
          <p:grpSpPr>
            <a:xfrm>
              <a:off x="8350883" y="2994342"/>
              <a:ext cx="1005840" cy="1005840"/>
              <a:chOff x="9035926" y="3040062"/>
              <a:chExt cx="914400" cy="914400"/>
            </a:xfrm>
          </p:grpSpPr>
          <p:sp>
            <p:nvSpPr>
              <p:cNvPr id="61" name="Oval 60"/>
              <p:cNvSpPr/>
              <p:nvPr/>
            </p:nvSpPr>
            <p:spPr bwMode="auto">
              <a:xfrm>
                <a:off x="9035926" y="3040062"/>
                <a:ext cx="914400" cy="914400"/>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algn="ctr" defTabSz="1118323" fontAlgn="base">
                  <a:lnSpc>
                    <a:spcPct val="90000"/>
                  </a:lnSpc>
                  <a:spcBef>
                    <a:spcPct val="0"/>
                  </a:spcBef>
                  <a:spcAft>
                    <a:spcPct val="0"/>
                  </a:spcAft>
                  <a:defRPr/>
                </a:pPr>
                <a:endParaRPr lang="en-US" sz="287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2" name="Group 61"/>
              <p:cNvGrpSpPr/>
              <p:nvPr/>
            </p:nvGrpSpPr>
            <p:grpSpPr>
              <a:xfrm>
                <a:off x="9290477" y="3294904"/>
                <a:ext cx="405298" cy="404717"/>
                <a:chOff x="-2627313" y="-174625"/>
                <a:chExt cx="2216150" cy="2212975"/>
              </a:xfrm>
            </p:grpSpPr>
            <p:sp>
              <p:nvSpPr>
                <p:cNvPr id="63" name="Freeform 5"/>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kern="0">
                    <a:solidFill>
                      <a:srgbClr val="505050"/>
                    </a:solidFill>
                    <a:latin typeface="Segoe UI"/>
                  </a:endParaRPr>
                </a:p>
              </p:txBody>
            </p:sp>
            <p:sp>
              <p:nvSpPr>
                <p:cNvPr id="64" name="Freeform 6"/>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kern="0">
                    <a:solidFill>
                      <a:srgbClr val="505050"/>
                    </a:solidFill>
                    <a:latin typeface="Segoe UI"/>
                  </a:endParaRPr>
                </a:p>
              </p:txBody>
            </p:sp>
            <p:sp>
              <p:nvSpPr>
                <p:cNvPr id="65" name="Line 7"/>
                <p:cNvSpPr>
                  <a:spLocks noChangeShapeType="1"/>
                </p:cNvSpPr>
                <p:nvPr/>
              </p:nvSpPr>
              <p:spPr bwMode="auto">
                <a:xfrm>
                  <a:off x="-1882775" y="568325"/>
                  <a:ext cx="0" cy="1470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kern="0">
                    <a:solidFill>
                      <a:srgbClr val="505050"/>
                    </a:solidFill>
                    <a:latin typeface="Segoe UI"/>
                  </a:endParaRPr>
                </a:p>
              </p:txBody>
            </p:sp>
            <p:sp>
              <p:nvSpPr>
                <p:cNvPr id="66" name="Line 8"/>
                <p:cNvSpPr>
                  <a:spLocks noChangeShapeType="1"/>
                </p:cNvSpPr>
                <p:nvPr/>
              </p:nvSpPr>
              <p:spPr bwMode="auto">
                <a:xfrm>
                  <a:off x="-1900238" y="-174625"/>
                  <a:ext cx="762000" cy="74295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kern="0">
                    <a:solidFill>
                      <a:srgbClr val="505050"/>
                    </a:solidFill>
                    <a:latin typeface="Segoe UI"/>
                  </a:endParaRPr>
                </a:p>
              </p:txBody>
            </p:sp>
            <p:sp>
              <p:nvSpPr>
                <p:cNvPr id="67" name="Line 9"/>
                <p:cNvSpPr>
                  <a:spLocks noChangeShapeType="1"/>
                </p:cNvSpPr>
                <p:nvPr/>
              </p:nvSpPr>
              <p:spPr bwMode="auto">
                <a:xfrm>
                  <a:off x="-1536700" y="188912"/>
                  <a:ext cx="74453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defRPr/>
                  </a:pPr>
                  <a:endParaRPr lang="en-US" kern="0">
                    <a:solidFill>
                      <a:srgbClr val="505050"/>
                    </a:solidFill>
                    <a:latin typeface="Segoe UI"/>
                  </a:endParaRPr>
                </a:p>
              </p:txBody>
            </p:sp>
          </p:grpSp>
        </p:grpSp>
      </p:grpSp>
      <p:sp>
        <p:nvSpPr>
          <p:cNvPr id="84" name="Freeform 83"/>
          <p:cNvSpPr>
            <a:spLocks/>
          </p:cNvSpPr>
          <p:nvPr/>
        </p:nvSpPr>
        <p:spPr bwMode="auto">
          <a:xfrm rot="3284225" flipV="1">
            <a:off x="4389713" y="3382623"/>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engage"/>
          <p:cNvSpPr/>
          <p:nvPr/>
        </p:nvSpPr>
        <p:spPr bwMode="auto">
          <a:xfrm>
            <a:off x="2128214" y="988632"/>
            <a:ext cx="219393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gradFill>
                  <a:gsLst>
                    <a:gs pos="7143">
                      <a:srgbClr val="505050"/>
                    </a:gs>
                    <a:gs pos="20536">
                      <a:srgbClr val="505050"/>
                    </a:gs>
                  </a:gsLst>
                  <a:lin ang="5400000" scaled="0"/>
                </a:gradFill>
                <a:latin typeface="Segoe UI Semilight" panose="020B0402040204020203" pitchFamily="34" charset="0"/>
                <a:cs typeface="Segoe UI Semilight" panose="020B0402040204020203" pitchFamily="34" charset="0"/>
              </a:rPr>
              <a:t>Engage your customers</a:t>
            </a:r>
          </a:p>
        </p:txBody>
      </p:sp>
      <p:sp>
        <p:nvSpPr>
          <p:cNvPr id="71" name="empower"/>
          <p:cNvSpPr/>
          <p:nvPr/>
        </p:nvSpPr>
        <p:spPr bwMode="auto">
          <a:xfrm>
            <a:off x="1931045" y="3525157"/>
            <a:ext cx="2339488" cy="973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gradFill>
                  <a:gsLst>
                    <a:gs pos="7143">
                      <a:srgbClr val="505050"/>
                    </a:gs>
                    <a:gs pos="20536">
                      <a:srgbClr val="505050"/>
                    </a:gs>
                  </a:gsLst>
                  <a:lin ang="5400000" scaled="0"/>
                </a:gradFill>
                <a:latin typeface="Segoe UI Semilight" panose="020B0402040204020203" pitchFamily="34" charset="0"/>
                <a:cs typeface="Segoe UI Semilight" panose="020B0402040204020203" pitchFamily="34" charset="0"/>
              </a:rPr>
              <a:t>Empower your employees</a:t>
            </a:r>
          </a:p>
        </p:txBody>
      </p:sp>
      <p:sp>
        <p:nvSpPr>
          <p:cNvPr id="70" name="optimize"/>
          <p:cNvSpPr/>
          <p:nvPr/>
        </p:nvSpPr>
        <p:spPr bwMode="auto">
          <a:xfrm>
            <a:off x="8008909" y="3518408"/>
            <a:ext cx="261328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gradFill>
                  <a:gsLst>
                    <a:gs pos="7143">
                      <a:srgbClr val="505050"/>
                    </a:gs>
                    <a:gs pos="20536">
                      <a:srgbClr val="505050"/>
                    </a:gs>
                  </a:gsLst>
                  <a:lin ang="5400000" scaled="0"/>
                </a:gradFill>
                <a:latin typeface="Segoe UI Semilight" panose="020B0402040204020203" pitchFamily="34" charset="0"/>
                <a:cs typeface="Segoe UI Semilight" panose="020B0402040204020203" pitchFamily="34" charset="0"/>
              </a:rPr>
              <a:t>Optimize your operations</a:t>
            </a:r>
          </a:p>
        </p:txBody>
      </p:sp>
      <p:sp>
        <p:nvSpPr>
          <p:cNvPr id="68" name="transform"/>
          <p:cNvSpPr/>
          <p:nvPr/>
        </p:nvSpPr>
        <p:spPr bwMode="auto">
          <a:xfrm>
            <a:off x="8148105" y="988632"/>
            <a:ext cx="2367185"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gradFill>
                  <a:gsLst>
                    <a:gs pos="7143">
                      <a:srgbClr val="505050"/>
                    </a:gs>
                    <a:gs pos="20536">
                      <a:srgbClr val="505050"/>
                    </a:gs>
                  </a:gsLst>
                  <a:lin ang="5400000" scaled="0"/>
                </a:gradFill>
                <a:latin typeface="Segoe UI Semilight" panose="020B0402040204020203" pitchFamily="34" charset="0"/>
                <a:cs typeface="Segoe UI Semilight" panose="020B0402040204020203" pitchFamily="34" charset="0"/>
              </a:rPr>
              <a:t>Transform your products</a:t>
            </a:r>
          </a:p>
        </p:txBody>
      </p:sp>
      <p:sp>
        <p:nvSpPr>
          <p:cNvPr id="94" name="Freeform 93"/>
          <p:cNvSpPr>
            <a:spLocks/>
          </p:cNvSpPr>
          <p:nvPr/>
        </p:nvSpPr>
        <p:spPr bwMode="auto">
          <a:xfrm rot="1856903" flipH="1" flipV="1">
            <a:off x="5281383" y="4432573"/>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Freeform 90"/>
          <p:cNvSpPr>
            <a:spLocks/>
          </p:cNvSpPr>
          <p:nvPr/>
        </p:nvSpPr>
        <p:spPr bwMode="auto">
          <a:xfrm rot="19786451" flipV="1">
            <a:off x="7082822" y="4444283"/>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Freeform 92"/>
          <p:cNvSpPr>
            <a:spLocks/>
          </p:cNvSpPr>
          <p:nvPr/>
        </p:nvSpPr>
        <p:spPr bwMode="auto">
          <a:xfrm rot="14812449" flipV="1">
            <a:off x="7954754" y="1950045"/>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Freeform 87"/>
          <p:cNvSpPr>
            <a:spLocks/>
          </p:cNvSpPr>
          <p:nvPr/>
        </p:nvSpPr>
        <p:spPr bwMode="auto">
          <a:xfrm rot="8621118" flipV="1">
            <a:off x="5359286" y="988595"/>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Freeform 89"/>
          <p:cNvSpPr>
            <a:spLocks/>
          </p:cNvSpPr>
          <p:nvPr/>
        </p:nvSpPr>
        <p:spPr bwMode="auto">
          <a:xfrm rot="2005605" flipV="1">
            <a:off x="6988034" y="967513"/>
            <a:ext cx="91414" cy="193837"/>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 name="Group 3"/>
          <p:cNvGrpSpPr/>
          <p:nvPr/>
        </p:nvGrpSpPr>
        <p:grpSpPr>
          <a:xfrm>
            <a:off x="7310978" y="3754453"/>
            <a:ext cx="514923" cy="514923"/>
            <a:chOff x="7167412" y="3681171"/>
            <a:chExt cx="504872" cy="504872"/>
          </a:xfrm>
        </p:grpSpPr>
        <p:sp>
          <p:nvSpPr>
            <p:cNvPr id="72" name="Line 9"/>
            <p:cNvSpPr>
              <a:spLocks noChangeShapeType="1"/>
            </p:cNvSpPr>
            <p:nvPr/>
          </p:nvSpPr>
          <p:spPr bwMode="auto">
            <a:xfrm>
              <a:off x="7470010" y="4062461"/>
              <a:ext cx="16764" cy="36601"/>
            </a:xfrm>
            <a:prstGeom prst="lin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74" name="Line 10"/>
            <p:cNvSpPr>
              <a:spLocks noChangeShapeType="1"/>
            </p:cNvSpPr>
            <p:nvPr/>
          </p:nvSpPr>
          <p:spPr bwMode="auto">
            <a:xfrm>
              <a:off x="7347564" y="3771846"/>
              <a:ext cx="16764" cy="32941"/>
            </a:xfrm>
            <a:prstGeom prst="lin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75" name="Line 11"/>
            <p:cNvSpPr>
              <a:spLocks noChangeShapeType="1"/>
            </p:cNvSpPr>
            <p:nvPr/>
          </p:nvSpPr>
          <p:spPr bwMode="auto">
            <a:xfrm flipH="1">
              <a:off x="7351208" y="4062461"/>
              <a:ext cx="13119" cy="36601"/>
            </a:xfrm>
            <a:prstGeom prst="lin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76" name="Line 12"/>
            <p:cNvSpPr>
              <a:spLocks noChangeShapeType="1"/>
            </p:cNvSpPr>
            <p:nvPr/>
          </p:nvSpPr>
          <p:spPr bwMode="auto">
            <a:xfrm flipH="1">
              <a:off x="7470010" y="3771846"/>
              <a:ext cx="13119" cy="32941"/>
            </a:xfrm>
            <a:prstGeom prst="line">
              <a:avLst/>
            </a:prstGeom>
            <a:noFill/>
            <a:ln w="19050" cap="flat">
              <a:solidFill>
                <a:srgbClr val="FFFFFF"/>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77" name="Line 14"/>
            <p:cNvSpPr>
              <a:spLocks noChangeShapeType="1"/>
            </p:cNvSpPr>
            <p:nvPr/>
          </p:nvSpPr>
          <p:spPr bwMode="auto">
            <a:xfrm>
              <a:off x="7545809" y="3986330"/>
              <a:ext cx="36442" cy="16836"/>
            </a:xfrm>
            <a:prstGeom prst="lin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78" name="Line 15"/>
            <p:cNvSpPr>
              <a:spLocks noChangeShapeType="1"/>
            </p:cNvSpPr>
            <p:nvPr/>
          </p:nvSpPr>
          <p:spPr bwMode="auto">
            <a:xfrm>
              <a:off x="7252088" y="3867742"/>
              <a:ext cx="36442" cy="13177"/>
            </a:xfrm>
            <a:prstGeom prst="lin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79" name="Line 16"/>
            <p:cNvSpPr>
              <a:spLocks noChangeShapeType="1"/>
            </p:cNvSpPr>
            <p:nvPr/>
          </p:nvSpPr>
          <p:spPr bwMode="auto">
            <a:xfrm flipV="1">
              <a:off x="7545809" y="3867742"/>
              <a:ext cx="36442" cy="13177"/>
            </a:xfrm>
            <a:prstGeom prst="line">
              <a:avLst/>
            </a:prstGeom>
            <a:noFill/>
            <a:ln w="28575">
              <a:solidFill>
                <a:schemeClr val="bg1">
                  <a:lumMod val="8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Line 17"/>
            <p:cNvSpPr>
              <a:spLocks noChangeShapeType="1"/>
            </p:cNvSpPr>
            <p:nvPr/>
          </p:nvSpPr>
          <p:spPr bwMode="auto">
            <a:xfrm flipV="1">
              <a:off x="7252088" y="3986330"/>
              <a:ext cx="36442" cy="16836"/>
            </a:xfrm>
            <a:prstGeom prst="lin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81" name="Oval 20"/>
            <p:cNvSpPr>
              <a:spLocks noChangeArrowheads="1"/>
            </p:cNvSpPr>
            <p:nvPr/>
          </p:nvSpPr>
          <p:spPr bwMode="auto">
            <a:xfrm>
              <a:off x="7281969" y="3798199"/>
              <a:ext cx="270400" cy="270851"/>
            </a:xfrm>
            <a:prstGeom prst="ellipse">
              <a:avLst/>
            </a:prstGeom>
            <a:noFill/>
            <a:ln w="19050" cap="flat">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32597">
                <a:defRPr/>
              </a:pPr>
              <a:endParaRPr lang="en-US">
                <a:solidFill>
                  <a:srgbClr val="505050"/>
                </a:solidFill>
                <a:latin typeface="Segoe UI"/>
              </a:endParaRPr>
            </a:p>
          </p:txBody>
        </p:sp>
        <p:sp>
          <p:nvSpPr>
            <p:cNvPr id="2" name="Oval 1"/>
            <p:cNvSpPr/>
            <p:nvPr/>
          </p:nvSpPr>
          <p:spPr bwMode="auto">
            <a:xfrm>
              <a:off x="7167412" y="3681171"/>
              <a:ext cx="504872" cy="504872"/>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2" name="Freeform 6"/>
          <p:cNvSpPr>
            <a:spLocks noEditPoints="1"/>
          </p:cNvSpPr>
          <p:nvPr/>
        </p:nvSpPr>
        <p:spPr bwMode="auto">
          <a:xfrm>
            <a:off x="9857788" y="6130078"/>
            <a:ext cx="302616" cy="504134"/>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03" name="Freeform 7"/>
          <p:cNvSpPr>
            <a:spLocks noEditPoints="1"/>
          </p:cNvSpPr>
          <p:nvPr/>
        </p:nvSpPr>
        <p:spPr bwMode="auto">
          <a:xfrm>
            <a:off x="2277921" y="6167300"/>
            <a:ext cx="390117" cy="4296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04" name="Freeform 8"/>
          <p:cNvSpPr>
            <a:spLocks noEditPoints="1"/>
          </p:cNvSpPr>
          <p:nvPr/>
        </p:nvSpPr>
        <p:spPr bwMode="auto">
          <a:xfrm>
            <a:off x="7283546" y="6206164"/>
            <a:ext cx="514603" cy="351962"/>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2" name="Freeform 5"/>
          <p:cNvSpPr>
            <a:spLocks/>
          </p:cNvSpPr>
          <p:nvPr/>
        </p:nvSpPr>
        <p:spPr bwMode="auto">
          <a:xfrm>
            <a:off x="4777150" y="6130078"/>
            <a:ext cx="487665" cy="50327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196941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2.08333E-6 -3.7037E-7 L -2.08333E-6 0.25 " pathEditMode="relative" rAng="0" ptsTypes="AA">
                                      <p:cBhvr>
                                        <p:cTn id="9" dur="650" spd="-100000" fill="hold"/>
                                        <p:tgtEl>
                                          <p:spTgt spid="28"/>
                                        </p:tgtEl>
                                        <p:attrNameLst>
                                          <p:attrName>ppt_x</p:attrName>
                                          <p:attrName>ppt_y</p:attrName>
                                        </p:attrNameLst>
                                      </p:cBhvr>
                                      <p:rCtr x="0" y="12500"/>
                                    </p:animMotion>
                                  </p:childTnLst>
                                </p:cTn>
                              </p:par>
                              <p:par>
                                <p:cTn id="10" presetID="10" presetClass="entr" presetSubtype="0" fill="hold" grpId="0" nodeType="withEffect">
                                  <p:stCondLst>
                                    <p:cond delay="120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1" presetClass="entr" presetSubtype="0" fill="hold" grpId="0" nodeType="withEffect">
                                  <p:stCondLst>
                                    <p:cond delay="700"/>
                                  </p:stCondLst>
                                  <p:childTnLst>
                                    <p:set>
                                      <p:cBhvr>
                                        <p:cTn id="14" dur="1" fill="hold">
                                          <p:stCondLst>
                                            <p:cond delay="499"/>
                                          </p:stCondLst>
                                        </p:cTn>
                                        <p:tgtEl>
                                          <p:spTgt spid="85"/>
                                        </p:tgtEl>
                                        <p:attrNameLst>
                                          <p:attrName>style.visibility</p:attrName>
                                        </p:attrNameLst>
                                      </p:cBhvr>
                                      <p:to>
                                        <p:strVal val="visible"/>
                                      </p:to>
                                    </p:set>
                                  </p:childTnLst>
                                </p:cTn>
                              </p:par>
                              <p:par>
                                <p:cTn id="15" presetID="6" presetClass="emph" presetSubtype="0" accel="100000" autoRev="1" fill="hold" grpId="1" nodeType="withEffect">
                                  <p:stCondLst>
                                    <p:cond delay="700"/>
                                  </p:stCondLst>
                                  <p:childTnLst>
                                    <p:animScale>
                                      <p:cBhvr>
                                        <p:cTn id="16" dur="500" fill="hold"/>
                                        <p:tgtEl>
                                          <p:spTgt spid="85"/>
                                        </p:tgtEl>
                                      </p:cBhvr>
                                      <p:by x="0" y="0"/>
                                    </p:animScale>
                                  </p:childTnLst>
                                </p:cTn>
                              </p:par>
                              <p:par>
                                <p:cTn id="17" presetID="63" presetClass="path" presetSubtype="0" decel="100000" fill="hold" grpId="2" nodeType="withEffect">
                                  <p:stCondLst>
                                    <p:cond delay="1200"/>
                                  </p:stCondLst>
                                  <p:childTnLst>
                                    <p:animMotion origin="layout" path="M -3.33333E-6 7.40741E-7 L -0.0108 0.05718 " pathEditMode="relative" rAng="0" ptsTypes="AA">
                                      <p:cBhvr>
                                        <p:cTn id="18" dur="500" spd="-100000" fill="hold"/>
                                        <p:tgtEl>
                                          <p:spTgt spid="85"/>
                                        </p:tgtEl>
                                        <p:attrNameLst>
                                          <p:attrName>ppt_x</p:attrName>
                                          <p:attrName>ppt_y</p:attrName>
                                        </p:attrNameLst>
                                      </p:cBhvr>
                                      <p:rCtr x="-547" y="2847"/>
                                    </p:animMotion>
                                  </p:childTnLst>
                                </p:cTn>
                              </p:par>
                              <p:par>
                                <p:cTn id="19" presetID="1" presetClass="entr" presetSubtype="0" fill="hold" grpId="0" nodeType="withEffect">
                                  <p:stCondLst>
                                    <p:cond delay="700"/>
                                  </p:stCondLst>
                                  <p:childTnLst>
                                    <p:set>
                                      <p:cBhvr>
                                        <p:cTn id="20" dur="1" fill="hold">
                                          <p:stCondLst>
                                            <p:cond delay="499"/>
                                          </p:stCondLst>
                                        </p:cTn>
                                        <p:tgtEl>
                                          <p:spTgt spid="84"/>
                                        </p:tgtEl>
                                        <p:attrNameLst>
                                          <p:attrName>style.visibility</p:attrName>
                                        </p:attrNameLst>
                                      </p:cBhvr>
                                      <p:to>
                                        <p:strVal val="visible"/>
                                      </p:to>
                                    </p:set>
                                  </p:childTnLst>
                                </p:cTn>
                              </p:par>
                              <p:par>
                                <p:cTn id="21" presetID="6" presetClass="emph" presetSubtype="0" accel="100000" autoRev="1" fill="hold" grpId="1" nodeType="withEffect">
                                  <p:stCondLst>
                                    <p:cond delay="700"/>
                                  </p:stCondLst>
                                  <p:childTnLst>
                                    <p:animScale>
                                      <p:cBhvr>
                                        <p:cTn id="22" dur="500" fill="hold"/>
                                        <p:tgtEl>
                                          <p:spTgt spid="84"/>
                                        </p:tgtEl>
                                      </p:cBhvr>
                                      <p:by x="0" y="0"/>
                                    </p:animScale>
                                  </p:childTnLst>
                                </p:cTn>
                              </p:par>
                              <p:par>
                                <p:cTn id="23" presetID="35" presetClass="path" presetSubtype="0" decel="100000" fill="hold" grpId="2" nodeType="withEffect">
                                  <p:stCondLst>
                                    <p:cond delay="1200"/>
                                  </p:stCondLst>
                                  <p:childTnLst>
                                    <p:animMotion origin="layout" path="M 1.875E-6 -3.7037E-6 L -0.00755 -0.04236 " pathEditMode="relative" rAng="0" ptsTypes="AA">
                                      <p:cBhvr>
                                        <p:cTn id="24" dur="500" spd="-100000" fill="hold"/>
                                        <p:tgtEl>
                                          <p:spTgt spid="84"/>
                                        </p:tgtEl>
                                        <p:attrNameLst>
                                          <p:attrName>ppt_x</p:attrName>
                                          <p:attrName>ppt_y</p:attrName>
                                        </p:attrNameLst>
                                      </p:cBhvr>
                                      <p:rCtr x="-378" y="-2130"/>
                                    </p:animMotion>
                                  </p:childTnLst>
                                </p:cTn>
                              </p:par>
                              <p:par>
                                <p:cTn id="25" presetID="1" presetClass="entr" presetSubtype="0" fill="hold" grpId="0" nodeType="withEffect">
                                  <p:stCondLst>
                                    <p:cond delay="700"/>
                                  </p:stCondLst>
                                  <p:childTnLst>
                                    <p:set>
                                      <p:cBhvr>
                                        <p:cTn id="26" dur="1" fill="hold">
                                          <p:stCondLst>
                                            <p:cond delay="499"/>
                                          </p:stCondLst>
                                        </p:cTn>
                                        <p:tgtEl>
                                          <p:spTgt spid="94"/>
                                        </p:tgtEl>
                                        <p:attrNameLst>
                                          <p:attrName>style.visibility</p:attrName>
                                        </p:attrNameLst>
                                      </p:cBhvr>
                                      <p:to>
                                        <p:strVal val="visible"/>
                                      </p:to>
                                    </p:set>
                                  </p:childTnLst>
                                </p:cTn>
                              </p:par>
                              <p:par>
                                <p:cTn id="27" presetID="6" presetClass="emph" presetSubtype="0" accel="100000" autoRev="1" fill="hold" grpId="1" nodeType="withEffect">
                                  <p:stCondLst>
                                    <p:cond delay="700"/>
                                  </p:stCondLst>
                                  <p:childTnLst>
                                    <p:animScale>
                                      <p:cBhvr>
                                        <p:cTn id="28" dur="500" fill="hold"/>
                                        <p:tgtEl>
                                          <p:spTgt spid="94"/>
                                        </p:tgtEl>
                                      </p:cBhvr>
                                      <p:by x="0" y="0"/>
                                    </p:animScale>
                                  </p:childTnLst>
                                </p:cTn>
                              </p:par>
                              <p:par>
                                <p:cTn id="29" presetID="63" presetClass="path" presetSubtype="0" decel="100000" fill="hold" grpId="2" nodeType="withEffect">
                                  <p:stCondLst>
                                    <p:cond delay="1200"/>
                                  </p:stCondLst>
                                  <p:childTnLst>
                                    <p:animMotion origin="layout" path="M 4.79167E-6 -3.7037E-6 L 0.03502 0.02639 " pathEditMode="relative" rAng="0" ptsTypes="AA">
                                      <p:cBhvr>
                                        <p:cTn id="30" dur="500" spd="-100000" fill="hold"/>
                                        <p:tgtEl>
                                          <p:spTgt spid="94"/>
                                        </p:tgtEl>
                                        <p:attrNameLst>
                                          <p:attrName>ppt_x</p:attrName>
                                          <p:attrName>ppt_y</p:attrName>
                                        </p:attrNameLst>
                                      </p:cBhvr>
                                      <p:rCtr x="1745" y="1319"/>
                                    </p:animMotion>
                                  </p:childTnLst>
                                </p:cTn>
                              </p:par>
                              <p:par>
                                <p:cTn id="31" presetID="1" presetClass="entr" presetSubtype="0" fill="hold" grpId="0" nodeType="withEffect">
                                  <p:stCondLst>
                                    <p:cond delay="700"/>
                                  </p:stCondLst>
                                  <p:childTnLst>
                                    <p:set>
                                      <p:cBhvr>
                                        <p:cTn id="32" dur="1" fill="hold">
                                          <p:stCondLst>
                                            <p:cond delay="499"/>
                                          </p:stCondLst>
                                        </p:cTn>
                                        <p:tgtEl>
                                          <p:spTgt spid="91"/>
                                        </p:tgtEl>
                                        <p:attrNameLst>
                                          <p:attrName>style.visibility</p:attrName>
                                        </p:attrNameLst>
                                      </p:cBhvr>
                                      <p:to>
                                        <p:strVal val="visible"/>
                                      </p:to>
                                    </p:set>
                                  </p:childTnLst>
                                </p:cTn>
                              </p:par>
                              <p:par>
                                <p:cTn id="33" presetID="6" presetClass="emph" presetSubtype="0" accel="100000" autoRev="1" fill="hold" grpId="1" nodeType="withEffect">
                                  <p:stCondLst>
                                    <p:cond delay="700"/>
                                  </p:stCondLst>
                                  <p:childTnLst>
                                    <p:animScale>
                                      <p:cBhvr>
                                        <p:cTn id="34" dur="500" fill="hold"/>
                                        <p:tgtEl>
                                          <p:spTgt spid="91"/>
                                        </p:tgtEl>
                                      </p:cBhvr>
                                      <p:by x="0" y="0"/>
                                    </p:animScale>
                                  </p:childTnLst>
                                </p:cTn>
                              </p:par>
                              <p:par>
                                <p:cTn id="35" presetID="35" presetClass="path" presetSubtype="0" decel="100000" fill="hold" grpId="2" nodeType="withEffect">
                                  <p:stCondLst>
                                    <p:cond delay="1200"/>
                                  </p:stCondLst>
                                  <p:childTnLst>
                                    <p:animMotion origin="layout" path="M 2.91667E-6 4.44444E-6 L -0.04219 0.02754 " pathEditMode="relative" rAng="0" ptsTypes="AA">
                                      <p:cBhvr>
                                        <p:cTn id="36" dur="500" spd="-100000" fill="hold"/>
                                        <p:tgtEl>
                                          <p:spTgt spid="91"/>
                                        </p:tgtEl>
                                        <p:attrNameLst>
                                          <p:attrName>ppt_x</p:attrName>
                                          <p:attrName>ppt_y</p:attrName>
                                        </p:attrNameLst>
                                      </p:cBhvr>
                                      <p:rCtr x="-2109" y="1366"/>
                                    </p:animMotion>
                                  </p:childTnLst>
                                </p:cTn>
                              </p:par>
                              <p:par>
                                <p:cTn id="37" presetID="1" presetClass="entr" presetSubtype="0" fill="hold" grpId="0" nodeType="withEffect">
                                  <p:stCondLst>
                                    <p:cond delay="700"/>
                                  </p:stCondLst>
                                  <p:childTnLst>
                                    <p:set>
                                      <p:cBhvr>
                                        <p:cTn id="38" dur="1" fill="hold">
                                          <p:stCondLst>
                                            <p:cond delay="499"/>
                                          </p:stCondLst>
                                        </p:cTn>
                                        <p:tgtEl>
                                          <p:spTgt spid="95"/>
                                        </p:tgtEl>
                                        <p:attrNameLst>
                                          <p:attrName>style.visibility</p:attrName>
                                        </p:attrNameLst>
                                      </p:cBhvr>
                                      <p:to>
                                        <p:strVal val="visible"/>
                                      </p:to>
                                    </p:set>
                                  </p:childTnLst>
                                </p:cTn>
                              </p:par>
                              <p:par>
                                <p:cTn id="39" presetID="6" presetClass="emph" presetSubtype="0" accel="100000" autoRev="1" fill="hold" grpId="1" nodeType="withEffect">
                                  <p:stCondLst>
                                    <p:cond delay="700"/>
                                  </p:stCondLst>
                                  <p:childTnLst>
                                    <p:animScale>
                                      <p:cBhvr>
                                        <p:cTn id="40" dur="500" fill="hold"/>
                                        <p:tgtEl>
                                          <p:spTgt spid="95"/>
                                        </p:tgtEl>
                                      </p:cBhvr>
                                      <p:by x="0" y="0"/>
                                    </p:animScale>
                                  </p:childTnLst>
                                </p:cTn>
                              </p:par>
                              <p:par>
                                <p:cTn id="41" presetID="63" presetClass="path" presetSubtype="0" decel="100000" fill="hold" grpId="2" nodeType="withEffect">
                                  <p:stCondLst>
                                    <p:cond delay="1200"/>
                                  </p:stCondLst>
                                  <p:childTnLst>
                                    <p:animMotion origin="layout" path="M 4.79167E-6 2.22222E-6 L 0.00963 -0.0625 " pathEditMode="relative" rAng="0" ptsTypes="AA">
                                      <p:cBhvr>
                                        <p:cTn id="42" dur="500" spd="-100000" fill="hold"/>
                                        <p:tgtEl>
                                          <p:spTgt spid="95"/>
                                        </p:tgtEl>
                                        <p:attrNameLst>
                                          <p:attrName>ppt_x</p:attrName>
                                          <p:attrName>ppt_y</p:attrName>
                                        </p:attrNameLst>
                                      </p:cBhvr>
                                      <p:rCtr x="482" y="-3125"/>
                                    </p:animMotion>
                                  </p:childTnLst>
                                </p:cTn>
                              </p:par>
                              <p:par>
                                <p:cTn id="43" presetID="1" presetClass="entr" presetSubtype="0" fill="hold" grpId="0" nodeType="withEffect">
                                  <p:stCondLst>
                                    <p:cond delay="700"/>
                                  </p:stCondLst>
                                  <p:childTnLst>
                                    <p:set>
                                      <p:cBhvr>
                                        <p:cTn id="44" dur="1" fill="hold">
                                          <p:stCondLst>
                                            <p:cond delay="499"/>
                                          </p:stCondLst>
                                        </p:cTn>
                                        <p:tgtEl>
                                          <p:spTgt spid="93"/>
                                        </p:tgtEl>
                                        <p:attrNameLst>
                                          <p:attrName>style.visibility</p:attrName>
                                        </p:attrNameLst>
                                      </p:cBhvr>
                                      <p:to>
                                        <p:strVal val="visible"/>
                                      </p:to>
                                    </p:set>
                                  </p:childTnLst>
                                </p:cTn>
                              </p:par>
                              <p:par>
                                <p:cTn id="45" presetID="6" presetClass="emph" presetSubtype="0" accel="100000" autoRev="1" fill="hold" grpId="1" nodeType="withEffect">
                                  <p:stCondLst>
                                    <p:cond delay="700"/>
                                  </p:stCondLst>
                                  <p:childTnLst>
                                    <p:animScale>
                                      <p:cBhvr>
                                        <p:cTn id="46" dur="500" fill="hold"/>
                                        <p:tgtEl>
                                          <p:spTgt spid="93"/>
                                        </p:tgtEl>
                                      </p:cBhvr>
                                      <p:by x="0" y="0"/>
                                    </p:animScale>
                                  </p:childTnLst>
                                </p:cTn>
                              </p:par>
                              <p:par>
                                <p:cTn id="47" presetID="35" presetClass="path" presetSubtype="0" decel="100000" fill="hold" grpId="2" nodeType="withEffect">
                                  <p:stCondLst>
                                    <p:cond delay="1200"/>
                                  </p:stCondLst>
                                  <p:childTnLst>
                                    <p:animMotion origin="layout" path="M 6.25E-7 -2.59259E-6 L 0.01263 0.06644 " pathEditMode="relative" rAng="0" ptsTypes="AA">
                                      <p:cBhvr>
                                        <p:cTn id="48" dur="500" spd="-100000" fill="hold"/>
                                        <p:tgtEl>
                                          <p:spTgt spid="93"/>
                                        </p:tgtEl>
                                        <p:attrNameLst>
                                          <p:attrName>ppt_x</p:attrName>
                                          <p:attrName>ppt_y</p:attrName>
                                        </p:attrNameLst>
                                      </p:cBhvr>
                                      <p:rCtr x="625" y="3310"/>
                                    </p:animMotion>
                                  </p:childTnLst>
                                </p:cTn>
                              </p:par>
                              <p:par>
                                <p:cTn id="49" presetID="1" presetClass="entr" presetSubtype="0" fill="hold" nodeType="withEffect">
                                  <p:stCondLst>
                                    <p:cond delay="0"/>
                                  </p:stCondLst>
                                  <p:childTnLst>
                                    <p:set>
                                      <p:cBhvr>
                                        <p:cTn id="50" dur="1" fill="hold">
                                          <p:stCondLst>
                                            <p:cond delay="499"/>
                                          </p:stCondLst>
                                        </p:cTn>
                                        <p:tgtEl>
                                          <p:spTgt spid="5"/>
                                        </p:tgtEl>
                                        <p:attrNameLst>
                                          <p:attrName>style.visibility</p:attrName>
                                        </p:attrNameLst>
                                      </p:cBhvr>
                                      <p:to>
                                        <p:strVal val="visible"/>
                                      </p:to>
                                    </p:set>
                                  </p:childTnLst>
                                </p:cTn>
                              </p:par>
                              <p:par>
                                <p:cTn id="51" presetID="6" presetClass="emph" presetSubtype="0" accel="100000" autoRev="1" fill="hold" nodeType="withEffect">
                                  <p:stCondLst>
                                    <p:cond delay="0"/>
                                  </p:stCondLst>
                                  <p:childTnLst>
                                    <p:animScale>
                                      <p:cBhvr>
                                        <p:cTn id="52" dur="500" fill="hold"/>
                                        <p:tgtEl>
                                          <p:spTgt spid="5"/>
                                        </p:tgtEl>
                                      </p:cBhvr>
                                      <p:by x="0" y="0"/>
                                    </p:animScale>
                                  </p:childTnLst>
                                </p:cTn>
                              </p:par>
                              <p:par>
                                <p:cTn id="53" presetID="1" presetClass="entr" presetSubtype="0" fill="hold" nodeType="withEffect">
                                  <p:stCondLst>
                                    <p:cond delay="0"/>
                                  </p:stCondLst>
                                  <p:childTnLst>
                                    <p:set>
                                      <p:cBhvr>
                                        <p:cTn id="54" dur="1" fill="hold">
                                          <p:stCondLst>
                                            <p:cond delay="499"/>
                                          </p:stCondLst>
                                        </p:cTn>
                                        <p:tgtEl>
                                          <p:spTgt spid="6"/>
                                        </p:tgtEl>
                                        <p:attrNameLst>
                                          <p:attrName>style.visibility</p:attrName>
                                        </p:attrNameLst>
                                      </p:cBhvr>
                                      <p:to>
                                        <p:strVal val="visible"/>
                                      </p:to>
                                    </p:set>
                                  </p:childTnLst>
                                </p:cTn>
                              </p:par>
                              <p:par>
                                <p:cTn id="55" presetID="6" presetClass="emph" presetSubtype="0" accel="100000" autoRev="1" fill="hold" nodeType="withEffect">
                                  <p:stCondLst>
                                    <p:cond delay="0"/>
                                  </p:stCondLst>
                                  <p:childTnLst>
                                    <p:animScale>
                                      <p:cBhvr>
                                        <p:cTn id="56" dur="500" fill="hold"/>
                                        <p:tgtEl>
                                          <p:spTgt spid="6"/>
                                        </p:tgtEl>
                                      </p:cBhvr>
                                      <p:by x="0" y="0"/>
                                    </p:animScale>
                                  </p:childTnLst>
                                </p:cTn>
                              </p:par>
                              <p:par>
                                <p:cTn id="57" presetID="1" presetClass="entr" presetSubtype="0" fill="hold" nodeType="withEffect">
                                  <p:stCondLst>
                                    <p:cond delay="0"/>
                                  </p:stCondLst>
                                  <p:childTnLst>
                                    <p:set>
                                      <p:cBhvr>
                                        <p:cTn id="58" dur="1" fill="hold">
                                          <p:stCondLst>
                                            <p:cond delay="499"/>
                                          </p:stCondLst>
                                        </p:cTn>
                                        <p:tgtEl>
                                          <p:spTgt spid="7"/>
                                        </p:tgtEl>
                                        <p:attrNameLst>
                                          <p:attrName>style.visibility</p:attrName>
                                        </p:attrNameLst>
                                      </p:cBhvr>
                                      <p:to>
                                        <p:strVal val="visible"/>
                                      </p:to>
                                    </p:set>
                                  </p:childTnLst>
                                </p:cTn>
                              </p:par>
                              <p:par>
                                <p:cTn id="59" presetID="6" presetClass="emph" presetSubtype="0" accel="100000" autoRev="1" fill="hold" nodeType="withEffect">
                                  <p:stCondLst>
                                    <p:cond delay="0"/>
                                  </p:stCondLst>
                                  <p:childTnLst>
                                    <p:animScale>
                                      <p:cBhvr>
                                        <p:cTn id="60" dur="500" fill="hold"/>
                                        <p:tgtEl>
                                          <p:spTgt spid="7"/>
                                        </p:tgtEl>
                                      </p:cBhvr>
                                      <p:by x="0" y="0"/>
                                    </p:animScale>
                                  </p:childTnLst>
                                </p:cTn>
                              </p:par>
                              <p:par>
                                <p:cTn id="61" presetID="10" presetClass="entr" presetSubtype="0" fill="hold" nodeType="with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fade">
                                      <p:cBhvr>
                                        <p:cTn id="63" dur="500"/>
                                        <p:tgtEl>
                                          <p:spTgt spid="4"/>
                                        </p:tgtEl>
                                      </p:cBhvr>
                                    </p:animEffect>
                                  </p:childTnLst>
                                </p:cTn>
                              </p:par>
                              <p:par>
                                <p:cTn id="64" presetID="1" presetClass="entr" presetSubtype="0" fill="hold" nodeType="withEffect">
                                  <p:stCondLst>
                                    <p:cond delay="0"/>
                                  </p:stCondLst>
                                  <p:childTnLst>
                                    <p:set>
                                      <p:cBhvr>
                                        <p:cTn id="65" dur="1" fill="hold">
                                          <p:stCondLst>
                                            <p:cond delay="499"/>
                                          </p:stCondLst>
                                        </p:cTn>
                                        <p:tgtEl>
                                          <p:spTgt spid="8"/>
                                        </p:tgtEl>
                                        <p:attrNameLst>
                                          <p:attrName>style.visibility</p:attrName>
                                        </p:attrNameLst>
                                      </p:cBhvr>
                                      <p:to>
                                        <p:strVal val="visible"/>
                                      </p:to>
                                    </p:set>
                                  </p:childTnLst>
                                </p:cTn>
                              </p:par>
                              <p:par>
                                <p:cTn id="66" presetID="6" presetClass="emph" presetSubtype="0" accel="100000" autoRev="1" fill="hold" nodeType="withEffect">
                                  <p:stCondLst>
                                    <p:cond delay="0"/>
                                  </p:stCondLst>
                                  <p:childTnLst>
                                    <p:animScale>
                                      <p:cBhvr>
                                        <p:cTn id="67" dur="500" fill="hold"/>
                                        <p:tgtEl>
                                          <p:spTgt spid="8"/>
                                        </p:tgtEl>
                                      </p:cBhvr>
                                      <p:by x="0" y="0"/>
                                    </p:animScale>
                                  </p:childTnLst>
                                </p:cTn>
                              </p:par>
                              <p:par>
                                <p:cTn id="68" presetID="1" presetClass="entr" presetSubtype="0" fill="hold" grpId="0" nodeType="withEffect">
                                  <p:stCondLst>
                                    <p:cond delay="0"/>
                                  </p:stCondLst>
                                  <p:childTnLst>
                                    <p:set>
                                      <p:cBhvr>
                                        <p:cTn id="69" dur="1" fill="hold">
                                          <p:stCondLst>
                                            <p:cond delay="499"/>
                                          </p:stCondLst>
                                        </p:cTn>
                                        <p:tgtEl>
                                          <p:spTgt spid="69"/>
                                        </p:tgtEl>
                                        <p:attrNameLst>
                                          <p:attrName>style.visibility</p:attrName>
                                        </p:attrNameLst>
                                      </p:cBhvr>
                                      <p:to>
                                        <p:strVal val="visible"/>
                                      </p:to>
                                    </p:set>
                                  </p:childTnLst>
                                </p:cTn>
                              </p:par>
                              <p:par>
                                <p:cTn id="70" presetID="6" presetClass="emph" presetSubtype="0" accel="100000" autoRev="1" fill="hold" grpId="1" nodeType="withEffect">
                                  <p:stCondLst>
                                    <p:cond delay="0"/>
                                  </p:stCondLst>
                                  <p:childTnLst>
                                    <p:animScale>
                                      <p:cBhvr>
                                        <p:cTn id="71" dur="500" fill="hold"/>
                                        <p:tgtEl>
                                          <p:spTgt spid="69"/>
                                        </p:tgtEl>
                                      </p:cBhvr>
                                      <p:by x="0" y="0"/>
                                    </p:animScale>
                                  </p:childTnLst>
                                </p:cTn>
                              </p:par>
                              <p:par>
                                <p:cTn id="72" presetID="1" presetClass="entr" presetSubtype="0" fill="hold" grpId="0" nodeType="withEffect">
                                  <p:stCondLst>
                                    <p:cond delay="0"/>
                                  </p:stCondLst>
                                  <p:childTnLst>
                                    <p:set>
                                      <p:cBhvr>
                                        <p:cTn id="73" dur="1" fill="hold">
                                          <p:stCondLst>
                                            <p:cond delay="499"/>
                                          </p:stCondLst>
                                        </p:cTn>
                                        <p:tgtEl>
                                          <p:spTgt spid="71"/>
                                        </p:tgtEl>
                                        <p:attrNameLst>
                                          <p:attrName>style.visibility</p:attrName>
                                        </p:attrNameLst>
                                      </p:cBhvr>
                                      <p:to>
                                        <p:strVal val="visible"/>
                                      </p:to>
                                    </p:set>
                                  </p:childTnLst>
                                </p:cTn>
                              </p:par>
                              <p:par>
                                <p:cTn id="74" presetID="6" presetClass="emph" presetSubtype="0" accel="100000" autoRev="1" fill="hold" grpId="1" nodeType="withEffect">
                                  <p:stCondLst>
                                    <p:cond delay="0"/>
                                  </p:stCondLst>
                                  <p:childTnLst>
                                    <p:animScale>
                                      <p:cBhvr>
                                        <p:cTn id="75" dur="500" fill="hold"/>
                                        <p:tgtEl>
                                          <p:spTgt spid="71"/>
                                        </p:tgtEl>
                                      </p:cBhvr>
                                      <p:by x="0" y="0"/>
                                    </p:animScale>
                                  </p:childTnLst>
                                </p:cTn>
                              </p:par>
                              <p:par>
                                <p:cTn id="76" presetID="1" presetClass="entr" presetSubtype="0" fill="hold" grpId="0" nodeType="withEffect">
                                  <p:stCondLst>
                                    <p:cond delay="0"/>
                                  </p:stCondLst>
                                  <p:childTnLst>
                                    <p:set>
                                      <p:cBhvr>
                                        <p:cTn id="77" dur="1" fill="hold">
                                          <p:stCondLst>
                                            <p:cond delay="499"/>
                                          </p:stCondLst>
                                        </p:cTn>
                                        <p:tgtEl>
                                          <p:spTgt spid="70"/>
                                        </p:tgtEl>
                                        <p:attrNameLst>
                                          <p:attrName>style.visibility</p:attrName>
                                        </p:attrNameLst>
                                      </p:cBhvr>
                                      <p:to>
                                        <p:strVal val="visible"/>
                                      </p:to>
                                    </p:set>
                                  </p:childTnLst>
                                </p:cTn>
                              </p:par>
                              <p:par>
                                <p:cTn id="78" presetID="6" presetClass="emph" presetSubtype="0" accel="100000" autoRev="1" fill="hold" grpId="1" nodeType="withEffect">
                                  <p:stCondLst>
                                    <p:cond delay="0"/>
                                  </p:stCondLst>
                                  <p:childTnLst>
                                    <p:animScale>
                                      <p:cBhvr>
                                        <p:cTn id="79" dur="500" fill="hold"/>
                                        <p:tgtEl>
                                          <p:spTgt spid="70"/>
                                        </p:tgtEl>
                                      </p:cBhvr>
                                      <p:by x="0" y="0"/>
                                    </p:animScale>
                                  </p:childTnLst>
                                </p:cTn>
                              </p:par>
                              <p:par>
                                <p:cTn id="80" presetID="1" presetClass="entr" presetSubtype="0" fill="hold" grpId="0" nodeType="withEffect">
                                  <p:stCondLst>
                                    <p:cond delay="0"/>
                                  </p:stCondLst>
                                  <p:childTnLst>
                                    <p:set>
                                      <p:cBhvr>
                                        <p:cTn id="81" dur="1" fill="hold">
                                          <p:stCondLst>
                                            <p:cond delay="499"/>
                                          </p:stCondLst>
                                        </p:cTn>
                                        <p:tgtEl>
                                          <p:spTgt spid="68"/>
                                        </p:tgtEl>
                                        <p:attrNameLst>
                                          <p:attrName>style.visibility</p:attrName>
                                        </p:attrNameLst>
                                      </p:cBhvr>
                                      <p:to>
                                        <p:strVal val="visible"/>
                                      </p:to>
                                    </p:set>
                                  </p:childTnLst>
                                </p:cTn>
                              </p:par>
                              <p:par>
                                <p:cTn id="82" presetID="6" presetClass="emph" presetSubtype="0" accel="100000" autoRev="1" fill="hold" grpId="1" nodeType="withEffect">
                                  <p:stCondLst>
                                    <p:cond delay="0"/>
                                  </p:stCondLst>
                                  <p:childTnLst>
                                    <p:animScale>
                                      <p:cBhvr>
                                        <p:cTn id="83" dur="500" fill="hold"/>
                                        <p:tgtEl>
                                          <p:spTgt spid="68"/>
                                        </p:tgtEl>
                                      </p:cBhvr>
                                      <p:by x="0" y="0"/>
                                    </p:animScale>
                                  </p:childTnLst>
                                </p:cTn>
                              </p:par>
                              <p:par>
                                <p:cTn id="84" presetID="1" presetClass="entr" presetSubtype="0" fill="hold" grpId="0" nodeType="withEffect">
                                  <p:stCondLst>
                                    <p:cond delay="700"/>
                                  </p:stCondLst>
                                  <p:childTnLst>
                                    <p:set>
                                      <p:cBhvr>
                                        <p:cTn id="85" dur="1" fill="hold">
                                          <p:stCondLst>
                                            <p:cond delay="499"/>
                                          </p:stCondLst>
                                        </p:cTn>
                                        <p:tgtEl>
                                          <p:spTgt spid="88"/>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500" fill="hold"/>
                                        <p:tgtEl>
                                          <p:spTgt spid="88"/>
                                        </p:tgtEl>
                                      </p:cBhvr>
                                      <p:by x="0" y="0"/>
                                    </p:animScale>
                                  </p:childTnLst>
                                </p:cTn>
                              </p:par>
                              <p:par>
                                <p:cTn id="88" presetID="35" presetClass="path" presetSubtype="0" decel="100000" fill="hold" grpId="2" nodeType="withEffect">
                                  <p:stCondLst>
                                    <p:cond delay="1200"/>
                                  </p:stCondLst>
                                  <p:childTnLst>
                                    <p:animMotion origin="layout" path="M 4.79167E-6 -2.59259E-6 L 0.04023 -0.02731 " pathEditMode="relative" rAng="0" ptsTypes="AA">
                                      <p:cBhvr>
                                        <p:cTn id="89" dur="500" spd="-100000" fill="hold"/>
                                        <p:tgtEl>
                                          <p:spTgt spid="88"/>
                                        </p:tgtEl>
                                        <p:attrNameLst>
                                          <p:attrName>ppt_x</p:attrName>
                                          <p:attrName>ppt_y</p:attrName>
                                        </p:attrNameLst>
                                      </p:cBhvr>
                                      <p:rCtr x="2005" y="-1366"/>
                                    </p:animMotion>
                                  </p:childTnLst>
                                </p:cTn>
                              </p:par>
                              <p:par>
                                <p:cTn id="90" presetID="1" presetClass="entr" presetSubtype="0" fill="hold" grpId="0" nodeType="withEffect">
                                  <p:stCondLst>
                                    <p:cond delay="700"/>
                                  </p:stCondLst>
                                  <p:childTnLst>
                                    <p:set>
                                      <p:cBhvr>
                                        <p:cTn id="91" dur="1" fill="hold">
                                          <p:stCondLst>
                                            <p:cond delay="499"/>
                                          </p:stCondLst>
                                        </p:cTn>
                                        <p:tgtEl>
                                          <p:spTgt spid="90"/>
                                        </p:tgtEl>
                                        <p:attrNameLst>
                                          <p:attrName>style.visibility</p:attrName>
                                        </p:attrNameLst>
                                      </p:cBhvr>
                                      <p:to>
                                        <p:strVal val="visible"/>
                                      </p:to>
                                    </p:set>
                                  </p:childTnLst>
                                </p:cTn>
                              </p:par>
                              <p:par>
                                <p:cTn id="92" presetID="6" presetClass="emph" presetSubtype="0" accel="100000" autoRev="1" fill="hold" grpId="1" nodeType="withEffect">
                                  <p:stCondLst>
                                    <p:cond delay="700"/>
                                  </p:stCondLst>
                                  <p:childTnLst>
                                    <p:animScale>
                                      <p:cBhvr>
                                        <p:cTn id="93" dur="500" fill="hold"/>
                                        <p:tgtEl>
                                          <p:spTgt spid="90"/>
                                        </p:tgtEl>
                                      </p:cBhvr>
                                      <p:by x="0" y="0"/>
                                    </p:animScale>
                                  </p:childTnLst>
                                </p:cTn>
                              </p:par>
                              <p:par>
                                <p:cTn id="94" presetID="35" presetClass="path" presetSubtype="0" decel="100000" fill="hold" grpId="2" nodeType="withEffect">
                                  <p:stCondLst>
                                    <p:cond delay="1200"/>
                                  </p:stCondLst>
                                  <p:childTnLst>
                                    <p:animMotion origin="layout" path="M -4.79167E-6 -3.33333E-6 L -0.04453 -0.02314 " pathEditMode="relative" rAng="0" ptsTypes="AA">
                                      <p:cBhvr>
                                        <p:cTn id="95" dur="500" spd="-100000" fill="hold"/>
                                        <p:tgtEl>
                                          <p:spTgt spid="90"/>
                                        </p:tgtEl>
                                        <p:attrNameLst>
                                          <p:attrName>ppt_x</p:attrName>
                                          <p:attrName>ppt_y</p:attrName>
                                        </p:attrNameLst>
                                      </p:cBhvr>
                                      <p:rCtr x="-2227" y="-115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28" grpId="0"/>
      <p:bldP spid="28" grpId="1"/>
      <p:bldP spid="85" grpId="0" animBg="1"/>
      <p:bldP spid="85" grpId="1" animBg="1"/>
      <p:bldP spid="85" grpId="2" animBg="1"/>
      <p:bldP spid="95" grpId="0" animBg="1"/>
      <p:bldP spid="95" grpId="1" animBg="1"/>
      <p:bldP spid="95" grpId="2" animBg="1"/>
      <p:bldP spid="84" grpId="0" animBg="1"/>
      <p:bldP spid="84" grpId="1" animBg="1"/>
      <p:bldP spid="84" grpId="2" animBg="1"/>
      <p:bldP spid="69" grpId="0"/>
      <p:bldP spid="69" grpId="1"/>
      <p:bldP spid="71" grpId="0"/>
      <p:bldP spid="71" grpId="1"/>
      <p:bldP spid="70" grpId="0"/>
      <p:bldP spid="70" grpId="1"/>
      <p:bldP spid="68" grpId="0"/>
      <p:bldP spid="68" grpId="1"/>
      <p:bldP spid="94" grpId="0" animBg="1"/>
      <p:bldP spid="94" grpId="1" animBg="1"/>
      <p:bldP spid="94" grpId="2" animBg="1"/>
      <p:bldP spid="91" grpId="0" animBg="1"/>
      <p:bldP spid="91" grpId="1" animBg="1"/>
      <p:bldP spid="91" grpId="2" animBg="1"/>
      <p:bldP spid="93" grpId="0" animBg="1"/>
      <p:bldP spid="93" grpId="1" animBg="1"/>
      <p:bldP spid="93" grpId="2" animBg="1"/>
      <p:bldP spid="88" grpId="0" animBg="1"/>
      <p:bldP spid="88" grpId="1" animBg="1"/>
      <p:bldP spid="88" grpId="2" animBg="1"/>
      <p:bldP spid="90" grpId="0" animBg="1"/>
      <p:bldP spid="90" grpId="1" animBg="1"/>
      <p:bldP spid="90" grpId="2"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82" y="-26471"/>
            <a:ext cx="12434711" cy="7020996"/>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 name="Straight Connector 3"/>
          <p:cNvCxnSpPr/>
          <p:nvPr/>
        </p:nvCxnSpPr>
        <p:spPr>
          <a:xfrm flipH="1">
            <a:off x="4741615" y="2305116"/>
            <a:ext cx="6699201" cy="0"/>
          </a:xfrm>
          <a:prstGeom prst="line">
            <a:avLst/>
          </a:prstGeom>
          <a:ln w="28575">
            <a:solidFill>
              <a:srgbClr val="00BCF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741615" y="1185992"/>
            <a:ext cx="6699201" cy="0"/>
          </a:xfrm>
          <a:prstGeom prst="line">
            <a:avLst/>
          </a:prstGeom>
          <a:ln w="28575">
            <a:solidFill>
              <a:srgbClr val="00BCF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768444" y="2394888"/>
            <a:ext cx="5667148"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F50"/>
                </a:solidFill>
                <a:latin typeface="Segoe UI"/>
                <a:cs typeface="Segoe UI" pitchFamily="34" charset="0"/>
              </a:rPr>
              <a:t>Open and Hybrid</a:t>
            </a:r>
          </a:p>
          <a:p>
            <a:pPr defTabSz="932330">
              <a:defRPr/>
            </a:pPr>
            <a:r>
              <a:rPr lang="en-US" sz="1632" kern="0" dirty="0">
                <a:gradFill>
                  <a:gsLst>
                    <a:gs pos="82143">
                      <a:srgbClr val="505050"/>
                    </a:gs>
                    <a:gs pos="50000">
                      <a:srgbClr val="505050"/>
                    </a:gs>
                  </a:gsLst>
                  <a:lin ang="5400000" scaled="0"/>
                </a:gradFill>
                <a:latin typeface="Segoe UI"/>
              </a:rPr>
              <a:t>Build freely, deploy consistently in the cloud &amp; on-prem</a:t>
            </a:r>
          </a:p>
        </p:txBody>
      </p:sp>
      <p:sp>
        <p:nvSpPr>
          <p:cNvPr id="22" name="Rectangle 21"/>
          <p:cNvSpPr/>
          <p:nvPr/>
        </p:nvSpPr>
        <p:spPr>
          <a:xfrm>
            <a:off x="6768444" y="4744459"/>
            <a:ext cx="4904830"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78D7"/>
                </a:solidFill>
                <a:latin typeface="Segoe UI"/>
                <a:cs typeface="Segoe UI" pitchFamily="34" charset="0"/>
              </a:rPr>
              <a:t>Data-Driven Intelligence</a:t>
            </a:r>
          </a:p>
          <a:p>
            <a:pPr defTabSz="932330">
              <a:defRPr/>
            </a:pPr>
            <a:r>
              <a:rPr lang="en-US" sz="1632" kern="0" dirty="0">
                <a:gradFill>
                  <a:gsLst>
                    <a:gs pos="82143">
                      <a:srgbClr val="505050"/>
                    </a:gs>
                    <a:gs pos="50000">
                      <a:srgbClr val="505050"/>
                    </a:gs>
                  </a:gsLst>
                  <a:lin ang="5400000" scaled="0"/>
                </a:gradFill>
                <a:latin typeface="Segoe UI"/>
              </a:rPr>
              <a:t>Power decisions &amp; apps with insights</a:t>
            </a:r>
          </a:p>
        </p:txBody>
      </p:sp>
      <p:sp>
        <p:nvSpPr>
          <p:cNvPr id="23" name="Rectangle 22"/>
          <p:cNvSpPr/>
          <p:nvPr/>
        </p:nvSpPr>
        <p:spPr>
          <a:xfrm>
            <a:off x="6768445" y="1253986"/>
            <a:ext cx="2799848" cy="1003276"/>
          </a:xfrm>
          <a:prstGeom prst="rect">
            <a:avLst/>
          </a:prstGeom>
        </p:spPr>
        <p:txBody>
          <a:bodyPr wrap="square" lIns="182854" tIns="146283" rIns="182854" bIns="146283">
            <a:spAutoFit/>
          </a:bodyPr>
          <a:lstStyle/>
          <a:p>
            <a:pPr defTabSz="932330">
              <a:defRPr/>
            </a:pPr>
            <a:r>
              <a:rPr lang="en-US" sz="2800" b="1" kern="0" dirty="0">
                <a:ln w="3175">
                  <a:noFill/>
                </a:ln>
                <a:solidFill>
                  <a:srgbClr val="00BCF3"/>
                </a:solidFill>
                <a:latin typeface="Segoe UI"/>
                <a:cs typeface="Segoe UI" pitchFamily="34" charset="0"/>
              </a:rPr>
              <a:t>Trust</a:t>
            </a:r>
          </a:p>
          <a:p>
            <a:pPr defTabSz="932330">
              <a:defRPr/>
            </a:pPr>
            <a:r>
              <a:rPr lang="en-US" sz="1632" kern="0" dirty="0">
                <a:gradFill>
                  <a:gsLst>
                    <a:gs pos="82143">
                      <a:srgbClr val="505050"/>
                    </a:gs>
                    <a:gs pos="50000">
                      <a:srgbClr val="505050"/>
                    </a:gs>
                  </a:gsLst>
                  <a:lin ang="5400000" scaled="0"/>
                </a:gradFill>
                <a:latin typeface="Segoe UI"/>
              </a:rPr>
              <a:t>Protect your business</a:t>
            </a:r>
          </a:p>
        </p:txBody>
      </p:sp>
      <p:sp>
        <p:nvSpPr>
          <p:cNvPr id="24" name="Rectangle 23"/>
          <p:cNvSpPr/>
          <p:nvPr/>
        </p:nvSpPr>
        <p:spPr>
          <a:xfrm>
            <a:off x="6768444" y="3538667"/>
            <a:ext cx="5463889" cy="991048"/>
          </a:xfrm>
          <a:prstGeom prst="rect">
            <a:avLst/>
          </a:prstGeom>
        </p:spPr>
        <p:txBody>
          <a:bodyPr wrap="square" lIns="182854" tIns="146283" rIns="182854" bIns="146283">
            <a:spAutoFit/>
          </a:bodyPr>
          <a:lstStyle/>
          <a:p>
            <a:pPr defTabSz="932330">
              <a:defRPr/>
            </a:pPr>
            <a:r>
              <a:rPr lang="en-US" sz="2800" b="1" kern="0" dirty="0">
                <a:ln w="3175">
                  <a:noFill/>
                </a:ln>
                <a:solidFill>
                  <a:srgbClr val="00188F"/>
                </a:solidFill>
                <a:latin typeface="Segoe UI"/>
                <a:cs typeface="Segoe UI" pitchFamily="34" charset="0"/>
              </a:rPr>
              <a:t>App Innovation</a:t>
            </a:r>
          </a:p>
          <a:p>
            <a:pPr defTabSz="932330">
              <a:defRPr/>
            </a:pPr>
            <a:r>
              <a:rPr lang="en-US" sz="1632" kern="0" dirty="0">
                <a:gradFill>
                  <a:gsLst>
                    <a:gs pos="82143">
                      <a:srgbClr val="505050"/>
                    </a:gs>
                    <a:gs pos="50000">
                      <a:srgbClr val="505050"/>
                    </a:gs>
                  </a:gsLst>
                  <a:lin ang="5400000" scaled="0"/>
                </a:gradFill>
                <a:latin typeface="Segoe UI"/>
              </a:rPr>
              <a:t>Accelerate innovation with the cloud</a:t>
            </a:r>
          </a:p>
        </p:txBody>
      </p:sp>
      <p:sp>
        <p:nvSpPr>
          <p:cNvPr id="17" name="Rectangle 16"/>
          <p:cNvSpPr/>
          <p:nvPr/>
        </p:nvSpPr>
        <p:spPr bwMode="auto">
          <a:xfrm>
            <a:off x="882" y="-26471"/>
            <a:ext cx="5303096" cy="70209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itle 1"/>
          <p:cNvSpPr txBox="1">
            <a:spLocks/>
          </p:cNvSpPr>
          <p:nvPr/>
        </p:nvSpPr>
        <p:spPr bwMode="ltGray">
          <a:xfrm>
            <a:off x="563241" y="2527596"/>
            <a:ext cx="4178375" cy="2022143"/>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algn="ctr" defTabSz="932563">
              <a:defRPr/>
            </a:pPr>
            <a:r>
              <a:rPr lang="en-US" sz="5405" spc="-102">
                <a:latin typeface="Segoe UI Light"/>
              </a:rPr>
              <a:t>Microsoft Azure</a:t>
            </a:r>
          </a:p>
        </p:txBody>
      </p:sp>
      <p:sp>
        <p:nvSpPr>
          <p:cNvPr id="27" name="Freeform 6"/>
          <p:cNvSpPr>
            <a:spLocks noEditPoints="1"/>
          </p:cNvSpPr>
          <p:nvPr/>
        </p:nvSpPr>
        <p:spPr bwMode="auto">
          <a:xfrm>
            <a:off x="6176529" y="4994029"/>
            <a:ext cx="324194" cy="540082"/>
          </a:xfrm>
          <a:custGeom>
            <a:avLst/>
            <a:gdLst>
              <a:gd name="T0" fmla="*/ 3350 w 4863"/>
              <a:gd name="T1" fmla="*/ 5119 h 8104"/>
              <a:gd name="T2" fmla="*/ 4053 w 4863"/>
              <a:gd name="T3" fmla="*/ 3572 h 8104"/>
              <a:gd name="T4" fmla="*/ 4053 w 4863"/>
              <a:gd name="T5" fmla="*/ 3572 h 8104"/>
              <a:gd name="T6" fmla="*/ 4431 w 4863"/>
              <a:gd name="T7" fmla="*/ 2399 h 8104"/>
              <a:gd name="T8" fmla="*/ 2432 w 4863"/>
              <a:gd name="T9" fmla="*/ 427 h 8104"/>
              <a:gd name="T10" fmla="*/ 433 w 4863"/>
              <a:gd name="T11" fmla="*/ 2399 h 8104"/>
              <a:gd name="T12" fmla="*/ 811 w 4863"/>
              <a:gd name="T13" fmla="*/ 3572 h 8104"/>
              <a:gd name="T14" fmla="*/ 811 w 4863"/>
              <a:gd name="T15" fmla="*/ 3572 h 8104"/>
              <a:gd name="T16" fmla="*/ 1459 w 4863"/>
              <a:gd name="T17" fmla="*/ 5119 h 8104"/>
              <a:gd name="T18" fmla="*/ 3350 w 4863"/>
              <a:gd name="T19" fmla="*/ 5119 h 8104"/>
              <a:gd name="T20" fmla="*/ 487 w 4863"/>
              <a:gd name="T21" fmla="*/ 3839 h 8104"/>
              <a:gd name="T22" fmla="*/ 0 w 4863"/>
              <a:gd name="T23" fmla="*/ 2399 h 8104"/>
              <a:gd name="T24" fmla="*/ 2432 w 4863"/>
              <a:gd name="T25" fmla="*/ 0 h 8104"/>
              <a:gd name="T26" fmla="*/ 4863 w 4863"/>
              <a:gd name="T27" fmla="*/ 2399 h 8104"/>
              <a:gd name="T28" fmla="*/ 4377 w 4863"/>
              <a:gd name="T29" fmla="*/ 3839 h 8104"/>
              <a:gd name="T30" fmla="*/ 4377 w 4863"/>
              <a:gd name="T31" fmla="*/ 3839 h 8104"/>
              <a:gd name="T32" fmla="*/ 4183 w 4863"/>
              <a:gd name="T33" fmla="*/ 4091 h 8104"/>
              <a:gd name="T34" fmla="*/ 3782 w 4863"/>
              <a:gd name="T35" fmla="*/ 5332 h 8104"/>
              <a:gd name="T36" fmla="*/ 3728 w 4863"/>
              <a:gd name="T37" fmla="*/ 5545 h 8104"/>
              <a:gd name="T38" fmla="*/ 1081 w 4863"/>
              <a:gd name="T39" fmla="*/ 5545 h 8104"/>
              <a:gd name="T40" fmla="*/ 1081 w 4863"/>
              <a:gd name="T41" fmla="*/ 5332 h 8104"/>
              <a:gd name="T42" fmla="*/ 487 w 4863"/>
              <a:gd name="T43" fmla="*/ 3839 h 8104"/>
              <a:gd name="T44" fmla="*/ 3296 w 4863"/>
              <a:gd name="T45" fmla="*/ 8104 h 8104"/>
              <a:gd name="T46" fmla="*/ 3296 w 4863"/>
              <a:gd name="T47" fmla="*/ 7678 h 8104"/>
              <a:gd name="T48" fmla="*/ 1567 w 4863"/>
              <a:gd name="T49" fmla="*/ 7678 h 8104"/>
              <a:gd name="T50" fmla="*/ 1567 w 4863"/>
              <a:gd name="T51" fmla="*/ 8104 h 8104"/>
              <a:gd name="T52" fmla="*/ 3296 w 4863"/>
              <a:gd name="T53" fmla="*/ 8104 h 8104"/>
              <a:gd name="T54" fmla="*/ 3566 w 4863"/>
              <a:gd name="T55" fmla="*/ 6878 h 8104"/>
              <a:gd name="T56" fmla="*/ 1297 w 4863"/>
              <a:gd name="T57" fmla="*/ 6878 h 8104"/>
              <a:gd name="T58" fmla="*/ 1297 w 4863"/>
              <a:gd name="T59" fmla="*/ 7305 h 8104"/>
              <a:gd name="T60" fmla="*/ 3566 w 4863"/>
              <a:gd name="T61" fmla="*/ 7305 h 8104"/>
              <a:gd name="T62" fmla="*/ 3566 w 4863"/>
              <a:gd name="T63" fmla="*/ 6878 h 8104"/>
              <a:gd name="T64" fmla="*/ 3566 w 4863"/>
              <a:gd name="T65" fmla="*/ 6452 h 8104"/>
              <a:gd name="T66" fmla="*/ 1297 w 4863"/>
              <a:gd name="T67" fmla="*/ 6452 h 8104"/>
              <a:gd name="T68" fmla="*/ 1297 w 4863"/>
              <a:gd name="T69" fmla="*/ 6025 h 8104"/>
              <a:gd name="T70" fmla="*/ 3566 w 4863"/>
              <a:gd name="T71" fmla="*/ 6025 h 8104"/>
              <a:gd name="T72" fmla="*/ 3566 w 4863"/>
              <a:gd name="T73" fmla="*/ 6452 h 8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3" h="8104">
                <a:moveTo>
                  <a:pt x="3350" y="5119"/>
                </a:moveTo>
                <a:cubicBezTo>
                  <a:pt x="3404" y="4799"/>
                  <a:pt x="3566" y="4159"/>
                  <a:pt x="4053" y="3572"/>
                </a:cubicBezTo>
                <a:cubicBezTo>
                  <a:pt x="4053" y="3572"/>
                  <a:pt x="4053" y="3572"/>
                  <a:pt x="4053" y="3572"/>
                </a:cubicBezTo>
                <a:cubicBezTo>
                  <a:pt x="4269" y="3252"/>
                  <a:pt x="4431" y="2826"/>
                  <a:pt x="4431" y="2399"/>
                </a:cubicBezTo>
                <a:cubicBezTo>
                  <a:pt x="4431" y="1333"/>
                  <a:pt x="3512" y="427"/>
                  <a:pt x="2432" y="427"/>
                </a:cubicBezTo>
                <a:cubicBezTo>
                  <a:pt x="1297" y="427"/>
                  <a:pt x="433" y="1333"/>
                  <a:pt x="433" y="2399"/>
                </a:cubicBezTo>
                <a:cubicBezTo>
                  <a:pt x="433" y="2826"/>
                  <a:pt x="541" y="3252"/>
                  <a:pt x="811" y="3572"/>
                </a:cubicBezTo>
                <a:cubicBezTo>
                  <a:pt x="811" y="3572"/>
                  <a:pt x="811" y="3572"/>
                  <a:pt x="811" y="3572"/>
                </a:cubicBezTo>
                <a:cubicBezTo>
                  <a:pt x="1243" y="4159"/>
                  <a:pt x="1405" y="4799"/>
                  <a:pt x="1459" y="5119"/>
                </a:cubicBezTo>
                <a:lnTo>
                  <a:pt x="3350" y="5119"/>
                </a:lnTo>
                <a:close/>
                <a:moveTo>
                  <a:pt x="487" y="3839"/>
                </a:moveTo>
                <a:cubicBezTo>
                  <a:pt x="162" y="3412"/>
                  <a:pt x="0" y="2933"/>
                  <a:pt x="0" y="2399"/>
                </a:cubicBezTo>
                <a:cubicBezTo>
                  <a:pt x="0" y="1120"/>
                  <a:pt x="1081" y="0"/>
                  <a:pt x="2432" y="0"/>
                </a:cubicBezTo>
                <a:cubicBezTo>
                  <a:pt x="3782" y="0"/>
                  <a:pt x="4863" y="1120"/>
                  <a:pt x="4863" y="2399"/>
                </a:cubicBezTo>
                <a:cubicBezTo>
                  <a:pt x="4863" y="2933"/>
                  <a:pt x="4701" y="3412"/>
                  <a:pt x="4377" y="3839"/>
                </a:cubicBezTo>
                <a:cubicBezTo>
                  <a:pt x="4377" y="3839"/>
                  <a:pt x="4377" y="3839"/>
                  <a:pt x="4377" y="3839"/>
                </a:cubicBezTo>
                <a:cubicBezTo>
                  <a:pt x="4301" y="3914"/>
                  <a:pt x="4235" y="3998"/>
                  <a:pt x="4183" y="4091"/>
                </a:cubicBezTo>
                <a:cubicBezTo>
                  <a:pt x="3829" y="4733"/>
                  <a:pt x="3782" y="5332"/>
                  <a:pt x="3782" y="5332"/>
                </a:cubicBezTo>
                <a:cubicBezTo>
                  <a:pt x="3728" y="5545"/>
                  <a:pt x="3728" y="5545"/>
                  <a:pt x="3728" y="5545"/>
                </a:cubicBezTo>
                <a:cubicBezTo>
                  <a:pt x="1081" y="5545"/>
                  <a:pt x="1081" y="5545"/>
                  <a:pt x="1081" y="5545"/>
                </a:cubicBezTo>
                <a:cubicBezTo>
                  <a:pt x="1081" y="5332"/>
                  <a:pt x="1081" y="5332"/>
                  <a:pt x="1081" y="5332"/>
                </a:cubicBezTo>
                <a:cubicBezTo>
                  <a:pt x="1081" y="5332"/>
                  <a:pt x="1027" y="4532"/>
                  <a:pt x="487" y="3839"/>
                </a:cubicBezTo>
                <a:close/>
                <a:moveTo>
                  <a:pt x="3296" y="8104"/>
                </a:moveTo>
                <a:cubicBezTo>
                  <a:pt x="3296" y="7678"/>
                  <a:pt x="3296" y="7678"/>
                  <a:pt x="3296" y="7678"/>
                </a:cubicBezTo>
                <a:cubicBezTo>
                  <a:pt x="1567" y="7678"/>
                  <a:pt x="1567" y="7678"/>
                  <a:pt x="1567" y="7678"/>
                </a:cubicBezTo>
                <a:cubicBezTo>
                  <a:pt x="1567" y="8104"/>
                  <a:pt x="1567" y="8104"/>
                  <a:pt x="1567" y="8104"/>
                </a:cubicBezTo>
                <a:lnTo>
                  <a:pt x="3296" y="8104"/>
                </a:lnTo>
                <a:close/>
                <a:moveTo>
                  <a:pt x="3566" y="6878"/>
                </a:moveTo>
                <a:cubicBezTo>
                  <a:pt x="1297" y="6878"/>
                  <a:pt x="1297" y="6878"/>
                  <a:pt x="1297" y="6878"/>
                </a:cubicBezTo>
                <a:cubicBezTo>
                  <a:pt x="1297" y="7305"/>
                  <a:pt x="1297" y="7305"/>
                  <a:pt x="1297" y="7305"/>
                </a:cubicBezTo>
                <a:cubicBezTo>
                  <a:pt x="3566" y="7305"/>
                  <a:pt x="3566" y="7305"/>
                  <a:pt x="3566" y="7305"/>
                </a:cubicBezTo>
                <a:lnTo>
                  <a:pt x="3566" y="6878"/>
                </a:lnTo>
                <a:close/>
                <a:moveTo>
                  <a:pt x="3566" y="6452"/>
                </a:moveTo>
                <a:cubicBezTo>
                  <a:pt x="1297" y="6452"/>
                  <a:pt x="1297" y="6452"/>
                  <a:pt x="1297" y="6452"/>
                </a:cubicBezTo>
                <a:cubicBezTo>
                  <a:pt x="1297" y="6025"/>
                  <a:pt x="1297" y="6025"/>
                  <a:pt x="1297" y="6025"/>
                </a:cubicBezTo>
                <a:cubicBezTo>
                  <a:pt x="3566" y="6025"/>
                  <a:pt x="3566" y="6025"/>
                  <a:pt x="3566" y="6025"/>
                </a:cubicBezTo>
                <a:lnTo>
                  <a:pt x="3566" y="6452"/>
                </a:lnTo>
                <a:close/>
              </a:path>
            </a:pathLst>
          </a:custGeom>
          <a:solidFill>
            <a:srgbClr val="0064B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Freeform 7"/>
          <p:cNvSpPr>
            <a:spLocks noEditPoints="1"/>
          </p:cNvSpPr>
          <p:nvPr/>
        </p:nvSpPr>
        <p:spPr bwMode="auto">
          <a:xfrm>
            <a:off x="6143567" y="1556215"/>
            <a:ext cx="390117" cy="4296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rgbClr val="00BCF3"/>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Freeform 8"/>
          <p:cNvSpPr>
            <a:spLocks noEditPoints="1"/>
          </p:cNvSpPr>
          <p:nvPr/>
        </p:nvSpPr>
        <p:spPr bwMode="auto">
          <a:xfrm>
            <a:off x="6068007" y="3847587"/>
            <a:ext cx="541238" cy="370179"/>
          </a:xfrm>
          <a:custGeom>
            <a:avLst/>
            <a:gdLst>
              <a:gd name="T0" fmla="*/ 6034 w 8045"/>
              <a:gd name="T1" fmla="*/ 1251 h 5504"/>
              <a:gd name="T2" fmla="*/ 4023 w 8045"/>
              <a:gd name="T3" fmla="*/ 0 h 5504"/>
              <a:gd name="T4" fmla="*/ 1760 w 8045"/>
              <a:gd name="T5" fmla="*/ 2001 h 5504"/>
              <a:gd name="T6" fmla="*/ 0 w 8045"/>
              <a:gd name="T7" fmla="*/ 3753 h 5504"/>
              <a:gd name="T8" fmla="*/ 1760 w 8045"/>
              <a:gd name="T9" fmla="*/ 5504 h 5504"/>
              <a:gd name="T10" fmla="*/ 5908 w 8045"/>
              <a:gd name="T11" fmla="*/ 5504 h 5504"/>
              <a:gd name="T12" fmla="*/ 8045 w 8045"/>
              <a:gd name="T13" fmla="*/ 3378 h 5504"/>
              <a:gd name="T14" fmla="*/ 6034 w 8045"/>
              <a:gd name="T15" fmla="*/ 1251 h 5504"/>
              <a:gd name="T16" fmla="*/ 5908 w 8045"/>
              <a:gd name="T17" fmla="*/ 5004 h 5504"/>
              <a:gd name="T18" fmla="*/ 1760 w 8045"/>
              <a:gd name="T19" fmla="*/ 5004 h 5504"/>
              <a:gd name="T20" fmla="*/ 503 w 8045"/>
              <a:gd name="T21" fmla="*/ 3753 h 5504"/>
              <a:gd name="T22" fmla="*/ 1681 w 8045"/>
              <a:gd name="T23" fmla="*/ 2505 h 5504"/>
              <a:gd name="T24" fmla="*/ 2263 w 8045"/>
              <a:gd name="T25" fmla="*/ 2507 h 5504"/>
              <a:gd name="T26" fmla="*/ 2263 w 8045"/>
              <a:gd name="T27" fmla="*/ 2252 h 5504"/>
              <a:gd name="T28" fmla="*/ 4023 w 8045"/>
              <a:gd name="T29" fmla="*/ 500 h 5504"/>
              <a:gd name="T30" fmla="*/ 5657 w 8045"/>
              <a:gd name="T31" fmla="*/ 1626 h 5504"/>
              <a:gd name="T32" fmla="*/ 5720 w 8045"/>
              <a:gd name="T33" fmla="*/ 1751 h 5504"/>
              <a:gd name="T34" fmla="*/ 5908 w 8045"/>
              <a:gd name="T35" fmla="*/ 1751 h 5504"/>
              <a:gd name="T36" fmla="*/ 7543 w 8045"/>
              <a:gd name="T37" fmla="*/ 3378 h 5504"/>
              <a:gd name="T38" fmla="*/ 5908 w 8045"/>
              <a:gd name="T39" fmla="*/ 5004 h 5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45" h="5504">
                <a:moveTo>
                  <a:pt x="6034" y="1251"/>
                </a:moveTo>
                <a:cubicBezTo>
                  <a:pt x="5657" y="500"/>
                  <a:pt x="4840" y="0"/>
                  <a:pt x="4023" y="0"/>
                </a:cubicBezTo>
                <a:cubicBezTo>
                  <a:pt x="2828" y="0"/>
                  <a:pt x="1886" y="875"/>
                  <a:pt x="1760" y="2001"/>
                </a:cubicBezTo>
                <a:cubicBezTo>
                  <a:pt x="754" y="2001"/>
                  <a:pt x="0" y="2815"/>
                  <a:pt x="0" y="3753"/>
                </a:cubicBezTo>
                <a:cubicBezTo>
                  <a:pt x="0" y="4754"/>
                  <a:pt x="754" y="5504"/>
                  <a:pt x="1760" y="5504"/>
                </a:cubicBezTo>
                <a:cubicBezTo>
                  <a:pt x="1760" y="5504"/>
                  <a:pt x="1760" y="5504"/>
                  <a:pt x="5908" y="5504"/>
                </a:cubicBezTo>
                <a:cubicBezTo>
                  <a:pt x="7040" y="5504"/>
                  <a:pt x="8045" y="4566"/>
                  <a:pt x="8045" y="3378"/>
                </a:cubicBezTo>
                <a:cubicBezTo>
                  <a:pt x="8045" y="2252"/>
                  <a:pt x="7166" y="1376"/>
                  <a:pt x="6034" y="1251"/>
                </a:cubicBezTo>
                <a:close/>
                <a:moveTo>
                  <a:pt x="5908" y="5004"/>
                </a:moveTo>
                <a:cubicBezTo>
                  <a:pt x="5908" y="5004"/>
                  <a:pt x="5908" y="5004"/>
                  <a:pt x="1760" y="5004"/>
                </a:cubicBezTo>
                <a:cubicBezTo>
                  <a:pt x="1069" y="5004"/>
                  <a:pt x="503" y="4441"/>
                  <a:pt x="503" y="3753"/>
                </a:cubicBezTo>
                <a:cubicBezTo>
                  <a:pt x="503" y="3091"/>
                  <a:pt x="1026" y="2545"/>
                  <a:pt x="1681" y="2505"/>
                </a:cubicBezTo>
                <a:cubicBezTo>
                  <a:pt x="1766" y="2492"/>
                  <a:pt x="1948" y="2478"/>
                  <a:pt x="2263" y="2507"/>
                </a:cubicBezTo>
                <a:cubicBezTo>
                  <a:pt x="2263" y="2463"/>
                  <a:pt x="2263" y="2387"/>
                  <a:pt x="2263" y="2252"/>
                </a:cubicBezTo>
                <a:cubicBezTo>
                  <a:pt x="2263" y="1313"/>
                  <a:pt x="3017" y="500"/>
                  <a:pt x="4023" y="500"/>
                </a:cubicBezTo>
                <a:cubicBezTo>
                  <a:pt x="4714" y="500"/>
                  <a:pt x="5343" y="938"/>
                  <a:pt x="5657" y="1626"/>
                </a:cubicBezTo>
                <a:cubicBezTo>
                  <a:pt x="5657" y="1626"/>
                  <a:pt x="5657" y="1626"/>
                  <a:pt x="5720" y="1751"/>
                </a:cubicBezTo>
                <a:cubicBezTo>
                  <a:pt x="5720" y="1751"/>
                  <a:pt x="5720" y="1751"/>
                  <a:pt x="5908" y="1751"/>
                </a:cubicBezTo>
                <a:cubicBezTo>
                  <a:pt x="6788" y="1751"/>
                  <a:pt x="7543" y="2502"/>
                  <a:pt x="7543" y="3378"/>
                </a:cubicBezTo>
                <a:cubicBezTo>
                  <a:pt x="7543" y="4316"/>
                  <a:pt x="6788" y="5004"/>
                  <a:pt x="5908" y="5004"/>
                </a:cubicBez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6" name="Freeform 5"/>
          <p:cNvSpPr>
            <a:spLocks/>
          </p:cNvSpPr>
          <p:nvPr/>
        </p:nvSpPr>
        <p:spPr bwMode="auto">
          <a:xfrm>
            <a:off x="6094793" y="2644890"/>
            <a:ext cx="487665" cy="50327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705365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nodeType="withEffect">
                                  <p:stCondLst>
                                    <p:cond delay="0"/>
                                  </p:stCondLst>
                                  <p:childTnLst>
                                    <p:set>
                                      <p:cBhvr>
                                        <p:cTn id="18" dur="1" fill="hold">
                                          <p:stCondLst>
                                            <p:cond delay="0"/>
                                          </p:stCondLst>
                                        </p:cTn>
                                        <p:tgtEl>
                                          <p:spTgt spid="23">
                                            <p:txEl>
                                              <p:pRg st="0" end="0"/>
                                            </p:txEl>
                                          </p:spTgt>
                                        </p:tgtEl>
                                        <p:attrNameLst>
                                          <p:attrName>style.visibility</p:attrName>
                                        </p:attrNameLst>
                                      </p:cBhvr>
                                      <p:to>
                                        <p:strVal val="visible"/>
                                      </p:to>
                                    </p:set>
                                    <p:animEffect transition="in" filter="fade">
                                      <p:cBhvr>
                                        <p:cTn id="19" dur="500"/>
                                        <p:tgtEl>
                                          <p:spTgt spid="23">
                                            <p:txEl>
                                              <p:pRg st="0" end="0"/>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xEl>
                                              <p:pRg st="1" end="1"/>
                                            </p:txEl>
                                          </p:spTgt>
                                        </p:tgtEl>
                                        <p:attrNameLst>
                                          <p:attrName>style.visibility</p:attrName>
                                        </p:attrNameLst>
                                      </p:cBhvr>
                                      <p:to>
                                        <p:strVal val="visible"/>
                                      </p:to>
                                    </p:set>
                                    <p:animEffect transition="in" filter="fade">
                                      <p:cBhvr>
                                        <p:cTn id="22" dur="500"/>
                                        <p:tgtEl>
                                          <p:spTgt spid="23">
                                            <p:txEl>
                                              <p:pRg st="1" end="1"/>
                                            </p:txEl>
                                          </p:spTgt>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wipe(left)">
                                      <p:cBhvr>
                                        <p:cTn id="26" dur="500"/>
                                        <p:tgtEl>
                                          <p:spTgt spid="4"/>
                                        </p:tgtEl>
                                      </p:cBhvr>
                                    </p:animEffect>
                                  </p:childTnLst>
                                </p:cTn>
                              </p:par>
                              <p:par>
                                <p:cTn id="27" presetID="22" presetClass="entr" presetSubtype="8"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ipe(left)">
                                      <p:cBhvr>
                                        <p:cTn id="2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23" grpId="0"/>
      <p:bldP spid="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1587786"/>
          </a:xfrm>
          <a:prstGeom prst="rect">
            <a:avLst/>
          </a:prstGeom>
          <a:solidFill>
            <a:srgbClr val="00BC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Title 1"/>
          <p:cNvSpPr>
            <a:spLocks noGrp="1"/>
          </p:cNvSpPr>
          <p:nvPr>
            <p:ph type="title"/>
          </p:nvPr>
        </p:nvSpPr>
        <p:spPr>
          <a:xfrm>
            <a:off x="275482" y="295731"/>
            <a:ext cx="11887878" cy="917444"/>
          </a:xfrm>
        </p:spPr>
        <p:txBody>
          <a:bodyPr/>
          <a:lstStyle/>
          <a:p>
            <a:r>
              <a:rPr lang="en-US" sz="4488" dirty="0">
                <a:gradFill>
                  <a:gsLst>
                    <a:gs pos="1250">
                      <a:schemeClr val="bg1"/>
                    </a:gs>
                    <a:gs pos="100000">
                      <a:schemeClr val="bg1"/>
                    </a:gs>
                  </a:gsLst>
                  <a:lin ang="5400000" scaled="0"/>
                </a:gradFill>
              </a:rPr>
              <a:t>Protect your business</a:t>
            </a:r>
          </a:p>
        </p:txBody>
      </p:sp>
      <p:sp>
        <p:nvSpPr>
          <p:cNvPr id="28" name="Rectangle 27"/>
          <p:cNvSpPr/>
          <p:nvPr/>
        </p:nvSpPr>
        <p:spPr>
          <a:xfrm>
            <a:off x="10466763" y="959213"/>
            <a:ext cx="1144854"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Trust</a:t>
            </a:r>
          </a:p>
        </p:txBody>
      </p:sp>
      <p:sp>
        <p:nvSpPr>
          <p:cNvPr id="30" name="Text Placeholder 3"/>
          <p:cNvSpPr txBox="1">
            <a:spLocks/>
          </p:cNvSpPr>
          <p:nvPr/>
        </p:nvSpPr>
        <p:spPr>
          <a:xfrm>
            <a:off x="879003" y="4446343"/>
            <a:ext cx="2665261"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defRPr/>
            </a:pPr>
            <a:r>
              <a:rPr lang="en-US" sz="3264">
                <a:solidFill>
                  <a:srgbClr val="00AEE9"/>
                </a:solidFill>
                <a:latin typeface="Segoe UI Light"/>
              </a:rPr>
              <a:t>Detect and mitigate threats</a:t>
            </a:r>
          </a:p>
        </p:txBody>
      </p:sp>
      <p:sp>
        <p:nvSpPr>
          <p:cNvPr id="31" name="Text Placeholder 3"/>
          <p:cNvSpPr txBox="1">
            <a:spLocks/>
          </p:cNvSpPr>
          <p:nvPr/>
        </p:nvSpPr>
        <p:spPr>
          <a:xfrm>
            <a:off x="8063648" y="4446342"/>
            <a:ext cx="3707837"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defRPr/>
            </a:pPr>
            <a:r>
              <a:rPr lang="en-US" sz="3264">
                <a:ln w="3175">
                  <a:noFill/>
                </a:ln>
                <a:solidFill>
                  <a:srgbClr val="00AEE9"/>
                </a:solidFill>
                <a:latin typeface="Segoe UI Light"/>
                <a:cs typeface="Segoe UI" pitchFamily="34" charset="0"/>
              </a:rPr>
              <a:t>The most trusted and compliant cloud</a:t>
            </a:r>
          </a:p>
        </p:txBody>
      </p:sp>
      <p:sp>
        <p:nvSpPr>
          <p:cNvPr id="32" name="Text Placeholder 3"/>
          <p:cNvSpPr txBox="1">
            <a:spLocks/>
          </p:cNvSpPr>
          <p:nvPr/>
        </p:nvSpPr>
        <p:spPr>
          <a:xfrm>
            <a:off x="4420194" y="4446343"/>
            <a:ext cx="3231821" cy="1567973"/>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51304">
              <a:defRPr/>
            </a:pPr>
            <a:r>
              <a:rPr lang="en-US" sz="3264">
                <a:ln w="3175">
                  <a:noFill/>
                </a:ln>
                <a:solidFill>
                  <a:srgbClr val="00AEE9"/>
                </a:solidFill>
                <a:latin typeface="Segoe UI Light"/>
                <a:cs typeface="Segoe UI" pitchFamily="34" charset="0"/>
              </a:rPr>
              <a:t>Achieve global scale, in local regions</a:t>
            </a:r>
          </a:p>
        </p:txBody>
      </p:sp>
      <p:cxnSp>
        <p:nvCxnSpPr>
          <p:cNvPr id="17" name="Straight Connector 16"/>
          <p:cNvCxnSpPr/>
          <p:nvPr/>
        </p:nvCxnSpPr>
        <p:spPr>
          <a:xfrm>
            <a:off x="987289" y="4214650"/>
            <a:ext cx="10450936" cy="0"/>
          </a:xfrm>
          <a:prstGeom prst="line">
            <a:avLst/>
          </a:prstGeom>
          <a:ln w="31750">
            <a:solidFill>
              <a:srgbClr val="66E5F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a:stretch>
            <a:fillRect/>
          </a:stretch>
        </p:blipFill>
        <p:spPr>
          <a:xfrm>
            <a:off x="1719426" y="2800440"/>
            <a:ext cx="984415" cy="841934"/>
          </a:xfrm>
          <a:prstGeom prst="rect">
            <a:avLst/>
          </a:prstGeom>
        </p:spPr>
      </p:pic>
      <p:pic>
        <p:nvPicPr>
          <p:cNvPr id="14" name="Picture 13"/>
          <p:cNvPicPr>
            <a:picLocks noChangeAspect="1"/>
          </p:cNvPicPr>
          <p:nvPr/>
        </p:nvPicPr>
        <p:blipFill>
          <a:blip r:embed="rId4"/>
          <a:stretch>
            <a:fillRect/>
          </a:stretch>
        </p:blipFill>
        <p:spPr>
          <a:xfrm>
            <a:off x="5621515" y="2748629"/>
            <a:ext cx="945556" cy="945556"/>
          </a:xfrm>
          <a:prstGeom prst="rect">
            <a:avLst/>
          </a:prstGeom>
        </p:spPr>
      </p:pic>
      <p:pic>
        <p:nvPicPr>
          <p:cNvPr id="15" name="Picture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68370" y="2800440"/>
            <a:ext cx="1098394" cy="841934"/>
          </a:xfrm>
          <a:prstGeom prst="rect">
            <a:avLst/>
          </a:prstGeom>
        </p:spPr>
      </p:pic>
      <p:sp>
        <p:nvSpPr>
          <p:cNvPr id="18" name="Freeform 7"/>
          <p:cNvSpPr>
            <a:spLocks noEditPoints="1"/>
          </p:cNvSpPr>
          <p:nvPr/>
        </p:nvSpPr>
        <p:spPr bwMode="auto">
          <a:xfrm>
            <a:off x="10772444" y="333668"/>
            <a:ext cx="590816" cy="650747"/>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5902524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grpId="1" nodeType="withEffect">
                                  <p:stCondLst>
                                    <p:cond delay="0"/>
                                  </p:stCondLst>
                                  <p:childTnLst>
                                    <p:animMotion origin="layout" path="M -4.375E-6 4.07407E-6 L -4.375E-6 0.0912 " pathEditMode="relative" rAng="0" ptsTypes="AA">
                                      <p:cBhvr>
                                        <p:cTn id="9" dur="600" spd="-100000" fill="hold"/>
                                        <p:tgtEl>
                                          <p:spTgt spid="30"/>
                                        </p:tgtEl>
                                        <p:attrNameLst>
                                          <p:attrName>ppt_x</p:attrName>
                                          <p:attrName>ppt_y</p:attrName>
                                        </p:attrNameLst>
                                      </p:cBhvr>
                                      <p:rCtr x="0" y="4560"/>
                                    </p:animMotion>
                                  </p:childTnLst>
                                </p:cTn>
                              </p:par>
                              <p:par>
                                <p:cTn id="10" presetID="10" presetClass="entr" presetSubtype="0" fill="hold" grpId="0" nodeType="withEffect">
                                  <p:stCondLst>
                                    <p:cond delay="1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42" presetClass="path" presetSubtype="0" decel="100000" fill="hold" grpId="1" nodeType="withEffect">
                                  <p:stCondLst>
                                    <p:cond delay="100"/>
                                  </p:stCondLst>
                                  <p:childTnLst>
                                    <p:animMotion origin="layout" path="M 3.54167E-6 -3.33333E-6 L 3.54167E-6 0.09121 " pathEditMode="relative" rAng="0" ptsTypes="AA">
                                      <p:cBhvr>
                                        <p:cTn id="14" dur="600" spd="-100000" fill="hold"/>
                                        <p:tgtEl>
                                          <p:spTgt spid="32"/>
                                        </p:tgtEl>
                                        <p:attrNameLst>
                                          <p:attrName>ppt_x</p:attrName>
                                          <p:attrName>ppt_y</p:attrName>
                                        </p:attrNameLst>
                                      </p:cBhvr>
                                      <p:rCtr x="0" y="4560"/>
                                    </p:animMotion>
                                  </p:childTnLst>
                                </p:cTn>
                              </p:par>
                              <p:par>
                                <p:cTn id="15" presetID="10" presetClass="entr" presetSubtype="0" fill="hold" grpId="0" nodeType="withEffect">
                                  <p:stCondLst>
                                    <p:cond delay="2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par>
                                <p:cTn id="18" presetID="42" presetClass="path" presetSubtype="0" decel="100000" fill="hold" grpId="1" nodeType="withEffect">
                                  <p:stCondLst>
                                    <p:cond delay="200"/>
                                  </p:stCondLst>
                                  <p:childTnLst>
                                    <p:animMotion origin="layout" path="M 3.95833E-6 -3.33333E-6 L 3.95833E-6 0.09121 " pathEditMode="relative" rAng="0" ptsTypes="AA">
                                      <p:cBhvr>
                                        <p:cTn id="19" dur="600" spd="-100000" fill="hold"/>
                                        <p:tgtEl>
                                          <p:spTgt spid="31"/>
                                        </p:tgtEl>
                                        <p:attrNameLst>
                                          <p:attrName>ppt_x</p:attrName>
                                          <p:attrName>ppt_y</p:attrName>
                                        </p:attrNameLst>
                                      </p:cBhvr>
                                      <p:rCtr x="0" y="4560"/>
                                    </p:animMotion>
                                  </p:childTnLst>
                                </p:cTn>
                              </p:par>
                              <p:par>
                                <p:cTn id="20" presetID="23" presetClass="entr" presetSubtype="272" fill="hold" nodeType="withEffect">
                                  <p:stCondLst>
                                    <p:cond delay="200"/>
                                  </p:stCondLst>
                                  <p:childTnLst>
                                    <p:set>
                                      <p:cBhvr>
                                        <p:cTn id="21" dur="1" fill="hold">
                                          <p:stCondLst>
                                            <p:cond delay="0"/>
                                          </p:stCondLst>
                                        </p:cTn>
                                        <p:tgtEl>
                                          <p:spTgt spid="13"/>
                                        </p:tgtEl>
                                        <p:attrNameLst>
                                          <p:attrName>style.visibility</p:attrName>
                                        </p:attrNameLst>
                                      </p:cBhvr>
                                      <p:to>
                                        <p:strVal val="visible"/>
                                      </p:to>
                                    </p:set>
                                    <p:anim calcmode="lin" valueType="num">
                                      <p:cBhvr>
                                        <p:cTn id="22" dur="500" fill="hold"/>
                                        <p:tgtEl>
                                          <p:spTgt spid="13"/>
                                        </p:tgtEl>
                                        <p:attrNameLst>
                                          <p:attrName>ppt_w</p:attrName>
                                        </p:attrNameLst>
                                      </p:cBhvr>
                                      <p:tavLst>
                                        <p:tav tm="0">
                                          <p:val>
                                            <p:strVal val="2/3*#ppt_w"/>
                                          </p:val>
                                        </p:tav>
                                        <p:tav tm="100000">
                                          <p:val>
                                            <p:strVal val="#ppt_w"/>
                                          </p:val>
                                        </p:tav>
                                      </p:tavLst>
                                    </p:anim>
                                    <p:anim calcmode="lin" valueType="num">
                                      <p:cBhvr>
                                        <p:cTn id="23" dur="500" fill="hold"/>
                                        <p:tgtEl>
                                          <p:spTgt spid="13"/>
                                        </p:tgtEl>
                                        <p:attrNameLst>
                                          <p:attrName>ppt_h</p:attrName>
                                        </p:attrNameLst>
                                      </p:cBhvr>
                                      <p:tavLst>
                                        <p:tav tm="0">
                                          <p:val>
                                            <p:strVal val="2/3*#ppt_h"/>
                                          </p:val>
                                        </p:tav>
                                        <p:tav tm="100000">
                                          <p:val>
                                            <p:strVal val="#ppt_h"/>
                                          </p:val>
                                        </p:tav>
                                      </p:tavLst>
                                    </p:anim>
                                  </p:childTnLst>
                                </p:cTn>
                              </p:par>
                              <p:par>
                                <p:cTn id="24" presetID="23" presetClass="entr" presetSubtype="272" fill="hold" nodeType="withEffect">
                                  <p:stCondLst>
                                    <p:cond delay="200"/>
                                  </p:stCondLst>
                                  <p:childTnLst>
                                    <p:set>
                                      <p:cBhvr>
                                        <p:cTn id="25" dur="1" fill="hold">
                                          <p:stCondLst>
                                            <p:cond delay="0"/>
                                          </p:stCondLst>
                                        </p:cTn>
                                        <p:tgtEl>
                                          <p:spTgt spid="14"/>
                                        </p:tgtEl>
                                        <p:attrNameLst>
                                          <p:attrName>style.visibility</p:attrName>
                                        </p:attrNameLst>
                                      </p:cBhvr>
                                      <p:to>
                                        <p:strVal val="visible"/>
                                      </p:to>
                                    </p:set>
                                    <p:anim calcmode="lin" valueType="num">
                                      <p:cBhvr>
                                        <p:cTn id="26" dur="500" fill="hold"/>
                                        <p:tgtEl>
                                          <p:spTgt spid="14"/>
                                        </p:tgtEl>
                                        <p:attrNameLst>
                                          <p:attrName>ppt_w</p:attrName>
                                        </p:attrNameLst>
                                      </p:cBhvr>
                                      <p:tavLst>
                                        <p:tav tm="0">
                                          <p:val>
                                            <p:strVal val="2/3*#ppt_w"/>
                                          </p:val>
                                        </p:tav>
                                        <p:tav tm="100000">
                                          <p:val>
                                            <p:strVal val="#ppt_w"/>
                                          </p:val>
                                        </p:tav>
                                      </p:tavLst>
                                    </p:anim>
                                    <p:anim calcmode="lin" valueType="num">
                                      <p:cBhvr>
                                        <p:cTn id="27" dur="500" fill="hold"/>
                                        <p:tgtEl>
                                          <p:spTgt spid="14"/>
                                        </p:tgtEl>
                                        <p:attrNameLst>
                                          <p:attrName>ppt_h</p:attrName>
                                        </p:attrNameLst>
                                      </p:cBhvr>
                                      <p:tavLst>
                                        <p:tav tm="0">
                                          <p:val>
                                            <p:strVal val="2/3*#ppt_h"/>
                                          </p:val>
                                        </p:tav>
                                        <p:tav tm="100000">
                                          <p:val>
                                            <p:strVal val="#ppt_h"/>
                                          </p:val>
                                        </p:tav>
                                      </p:tavLst>
                                    </p:anim>
                                  </p:childTnLst>
                                </p:cTn>
                              </p:par>
                              <p:par>
                                <p:cTn id="28" presetID="23" presetClass="entr" presetSubtype="272" fill="hold" nodeType="withEffect">
                                  <p:stCondLst>
                                    <p:cond delay="200"/>
                                  </p:stCondLst>
                                  <p:childTnLst>
                                    <p:set>
                                      <p:cBhvr>
                                        <p:cTn id="29" dur="1" fill="hold">
                                          <p:stCondLst>
                                            <p:cond delay="0"/>
                                          </p:stCondLst>
                                        </p:cTn>
                                        <p:tgtEl>
                                          <p:spTgt spid="15"/>
                                        </p:tgtEl>
                                        <p:attrNameLst>
                                          <p:attrName>style.visibility</p:attrName>
                                        </p:attrNameLst>
                                      </p:cBhvr>
                                      <p:to>
                                        <p:strVal val="visible"/>
                                      </p:to>
                                    </p:set>
                                    <p:anim calcmode="lin" valueType="num">
                                      <p:cBhvr>
                                        <p:cTn id="30" dur="500" fill="hold"/>
                                        <p:tgtEl>
                                          <p:spTgt spid="15"/>
                                        </p:tgtEl>
                                        <p:attrNameLst>
                                          <p:attrName>ppt_w</p:attrName>
                                        </p:attrNameLst>
                                      </p:cBhvr>
                                      <p:tavLst>
                                        <p:tav tm="0">
                                          <p:val>
                                            <p:strVal val="2/3*#ppt_w"/>
                                          </p:val>
                                        </p:tav>
                                        <p:tav tm="100000">
                                          <p:val>
                                            <p:strVal val="#ppt_w"/>
                                          </p:val>
                                        </p:tav>
                                      </p:tavLst>
                                    </p:anim>
                                    <p:anim calcmode="lin" valueType="num">
                                      <p:cBhvr>
                                        <p:cTn id="31" dur="500" fill="hold"/>
                                        <p:tgtEl>
                                          <p:spTgt spid="15"/>
                                        </p:tgtEl>
                                        <p:attrNameLst>
                                          <p:attrName>ppt_h</p:attrName>
                                        </p:attrNameLst>
                                      </p:cBhvr>
                                      <p:tavLst>
                                        <p:tav tm="0">
                                          <p:val>
                                            <p:strVal val="2/3*#ppt_h"/>
                                          </p:val>
                                        </p:tav>
                                        <p:tav tm="100000">
                                          <p:val>
                                            <p:strVal val="#ppt_h"/>
                                          </p:val>
                                        </p:tav>
                                      </p:tavLst>
                                    </p:anim>
                                  </p:childTnLst>
                                </p:cTn>
                              </p:par>
                              <p:par>
                                <p:cTn id="32" presetID="16" presetClass="entr" presetSubtype="37" fill="hold" nodeType="withEffect">
                                  <p:stCondLst>
                                    <p:cond delay="200"/>
                                  </p:stCondLst>
                                  <p:childTnLst>
                                    <p:set>
                                      <p:cBhvr>
                                        <p:cTn id="33" dur="1" fill="hold">
                                          <p:stCondLst>
                                            <p:cond delay="0"/>
                                          </p:stCondLst>
                                        </p:cTn>
                                        <p:tgtEl>
                                          <p:spTgt spid="17"/>
                                        </p:tgtEl>
                                        <p:attrNameLst>
                                          <p:attrName>style.visibility</p:attrName>
                                        </p:attrNameLst>
                                      </p:cBhvr>
                                      <p:to>
                                        <p:strVal val="visible"/>
                                      </p:to>
                                    </p:set>
                                    <p:animEffect transition="in" filter="barn(outVertical)">
                                      <p:cBhvr>
                                        <p:cTn id="3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31" grpId="0"/>
      <p:bldP spid="31" grpId="1"/>
      <p:bldP spid="32" grpId="0"/>
      <p:bldP spid="3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83" y="1466522"/>
            <a:ext cx="3166373" cy="5528003"/>
          </a:xfrm>
          <a:prstGeom prst="rect">
            <a:avLst/>
          </a:prstGeom>
          <a:solidFill>
            <a:srgbClr val="0028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Picture 3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67256" y="704553"/>
            <a:ext cx="9268336" cy="6289973"/>
          </a:xfrm>
          <a:prstGeom prst="rect">
            <a:avLst/>
          </a:prstGeom>
          <a:solidFill>
            <a:srgbClr val="00284B"/>
          </a:solidFill>
          <a:ln>
            <a:noFill/>
          </a:ln>
          <a:effectLst/>
        </p:spPr>
      </p:pic>
      <p:sp>
        <p:nvSpPr>
          <p:cNvPr id="79" name="Rectangle 78"/>
          <p:cNvSpPr/>
          <p:nvPr/>
        </p:nvSpPr>
        <p:spPr bwMode="auto">
          <a:xfrm>
            <a:off x="883" y="496"/>
            <a:ext cx="12434711" cy="1587786"/>
          </a:xfrm>
          <a:prstGeom prst="rect">
            <a:avLst/>
          </a:prstGeom>
          <a:solidFill>
            <a:srgbClr val="00BC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275482" y="295731"/>
            <a:ext cx="11887878" cy="917444"/>
          </a:xfrm>
        </p:spPr>
        <p:txBody>
          <a:bodyPr/>
          <a:lstStyle/>
          <a:p>
            <a:pPr>
              <a:buSzPct val="90000"/>
              <a:tabLst>
                <a:tab pos="1490091" algn="l"/>
              </a:tabLst>
            </a:pPr>
            <a:r>
              <a:rPr lang="en-US" sz="4488">
                <a:gradFill>
                  <a:gsLst>
                    <a:gs pos="1250">
                      <a:schemeClr val="bg1"/>
                    </a:gs>
                    <a:gs pos="100000">
                      <a:schemeClr val="bg1"/>
                    </a:gs>
                  </a:gsLst>
                  <a:lin ang="5400000" scaled="0"/>
                </a:gradFill>
              </a:rPr>
              <a:t>Detect and mitigate threats</a:t>
            </a:r>
          </a:p>
        </p:txBody>
      </p:sp>
      <p:sp>
        <p:nvSpPr>
          <p:cNvPr id="68" name="Freeform 13"/>
          <p:cNvSpPr>
            <a:spLocks noChangeAspect="1" noEditPoints="1"/>
          </p:cNvSpPr>
          <p:nvPr/>
        </p:nvSpPr>
        <p:spPr bwMode="auto">
          <a:xfrm>
            <a:off x="10754229" y="337517"/>
            <a:ext cx="601238" cy="646898"/>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chemeClr val="bg1"/>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
        <p:nvSpPr>
          <p:cNvPr id="13" name="Rectangle 12"/>
          <p:cNvSpPr/>
          <p:nvPr/>
        </p:nvSpPr>
        <p:spPr bwMode="auto">
          <a:xfrm>
            <a:off x="333576" y="3054307"/>
            <a:ext cx="2500984" cy="1311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597"/>
            <a:r>
              <a:rPr lang="en-US" sz="2800" b="1" spc="-30">
                <a:ln w="3175">
                  <a:noFill/>
                </a:ln>
                <a:solidFill>
                  <a:srgbClr val="FFFFFF"/>
                </a:solidFill>
                <a:latin typeface="Segoe UI"/>
                <a:cs typeface="Segoe UI Semilight" panose="020B0402040204020203" pitchFamily="34" charset="0"/>
              </a:rPr>
              <a:t>Prevent</a:t>
            </a:r>
          </a:p>
          <a:p>
            <a:pPr defTabSz="932597"/>
            <a:endParaRPr lang="en-US" sz="2800" b="1" spc="-30">
              <a:ln w="3175">
                <a:noFill/>
              </a:ln>
              <a:solidFill>
                <a:srgbClr val="FFFFFF"/>
              </a:solidFill>
              <a:latin typeface="Segoe UI"/>
              <a:cs typeface="Segoe UI Semilight" panose="020B0402040204020203" pitchFamily="34" charset="0"/>
            </a:endParaRPr>
          </a:p>
          <a:p>
            <a:pPr defTabSz="932597"/>
            <a:r>
              <a:rPr lang="en-US" sz="2800" b="1" spc="-30">
                <a:ln w="3175">
                  <a:noFill/>
                </a:ln>
                <a:solidFill>
                  <a:srgbClr val="FFFFFF"/>
                </a:solidFill>
                <a:latin typeface="Segoe UI"/>
                <a:cs typeface="Segoe UI Semilight" panose="020B0402040204020203" pitchFamily="34" charset="0"/>
              </a:rPr>
              <a:t>Detect</a:t>
            </a:r>
          </a:p>
          <a:p>
            <a:pPr defTabSz="932597"/>
            <a:endParaRPr lang="en-US" sz="2800" b="1" spc="-30">
              <a:ln w="3175">
                <a:noFill/>
              </a:ln>
              <a:solidFill>
                <a:srgbClr val="FFFFFF"/>
              </a:solidFill>
              <a:latin typeface="Segoe UI"/>
              <a:cs typeface="Segoe UI Semilight" panose="020B0402040204020203" pitchFamily="34" charset="0"/>
            </a:endParaRPr>
          </a:p>
          <a:p>
            <a:pPr defTabSz="932597"/>
            <a:r>
              <a:rPr lang="en-US" sz="2800" b="1" spc="-30">
                <a:ln w="3175">
                  <a:noFill/>
                </a:ln>
                <a:solidFill>
                  <a:srgbClr val="FFFFFF"/>
                </a:solidFill>
                <a:latin typeface="Segoe UI"/>
                <a:cs typeface="Segoe UI Semilight" panose="020B0402040204020203" pitchFamily="34" charset="0"/>
              </a:rPr>
              <a:t>Respond</a:t>
            </a:r>
          </a:p>
        </p:txBody>
      </p:sp>
      <p:sp>
        <p:nvSpPr>
          <p:cNvPr id="9" name="Rectangle 8"/>
          <p:cNvSpPr/>
          <p:nvPr/>
        </p:nvSpPr>
        <p:spPr>
          <a:xfrm>
            <a:off x="10466763" y="959213"/>
            <a:ext cx="1144854" cy="507309"/>
          </a:xfrm>
          <a:prstGeom prst="rect">
            <a:avLst/>
          </a:prstGeom>
        </p:spPr>
        <p:txBody>
          <a:bodyPr wrap="square" lIns="182854" tIns="146283" rIns="182854" bIns="146283">
            <a:spAutoFit/>
          </a:bodyPr>
          <a:lstStyle/>
          <a:p>
            <a:pPr algn="ctr" defTabSz="932330">
              <a:lnSpc>
                <a:spcPct val="90000"/>
              </a:lnSpc>
              <a:defRPr/>
            </a:pPr>
            <a:r>
              <a:rPr lang="en-US" sz="1428" b="1" kern="0" dirty="0">
                <a:ln w="3175">
                  <a:noFill/>
                </a:ln>
                <a:solidFill>
                  <a:srgbClr val="FFFFFF"/>
                </a:solidFill>
                <a:latin typeface="Segoe UI"/>
                <a:cs typeface="Segoe UI" pitchFamily="34" charset="0"/>
              </a:rPr>
              <a:t>Trust</a:t>
            </a:r>
          </a:p>
        </p:txBody>
      </p:sp>
    </p:spTree>
    <p:extLst>
      <p:ext uri="{BB962C8B-B14F-4D97-AF65-F5344CB8AC3E}">
        <p14:creationId xmlns:p14="http://schemas.microsoft.com/office/powerpoint/2010/main" val="96398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2" presetClass="entr" presetSubtype="4"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 calcmode="lin" valueType="num">
                                      <p:cBhvr additive="base">
                                        <p:cTn id="14" dur="500" fill="hold"/>
                                        <p:tgtEl>
                                          <p:spTgt spid="33"/>
                                        </p:tgtEl>
                                        <p:attrNameLst>
                                          <p:attrName>ppt_x</p:attrName>
                                        </p:attrNameLst>
                                      </p:cBhvr>
                                      <p:tavLst>
                                        <p:tav tm="0">
                                          <p:val>
                                            <p:strVal val="#ppt_x"/>
                                          </p:val>
                                        </p:tav>
                                        <p:tav tm="100000">
                                          <p:val>
                                            <p:strVal val="#ppt_x"/>
                                          </p:val>
                                        </p:tav>
                                      </p:tavLst>
                                    </p:anim>
                                    <p:anim calcmode="lin" valueType="num">
                                      <p:cBhvr additive="base">
                                        <p:cTn id="15"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2">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 id="{2F1AC67C-B8CC-4EE6-9E96-BD9F3AAAD5F1}" vid="{46893841-3133-4EB0-8DDB-2CAD72C39651}"/>
    </a:ext>
  </a:extLst>
</a:theme>
</file>

<file path=ppt/theme/theme1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1.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2.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5-30616_S4_Dark_Template_16x9">
  <a:themeElements>
    <a:clrScheme name="S4 2015 Dark">
      <a:dk1>
        <a:srgbClr val="505050"/>
      </a:dk1>
      <a:lt1>
        <a:srgbClr val="FFFFFF"/>
      </a:lt1>
      <a:dk2>
        <a:srgbClr val="00188F"/>
      </a:dk2>
      <a:lt2>
        <a:srgbClr val="D2D2D2"/>
      </a:lt2>
      <a:accent1>
        <a:srgbClr val="00188F"/>
      </a:accent1>
      <a:accent2>
        <a:srgbClr val="0078D7"/>
      </a:accent2>
      <a:accent3>
        <a:srgbClr val="32145A"/>
      </a:accent3>
      <a:accent4>
        <a:srgbClr val="107C10"/>
      </a:accent4>
      <a:accent5>
        <a:srgbClr val="08BCF2"/>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lide deck template_dark background_S4 FY15 Q3_16x9 [Read-Only]" id="{D3AF6F10-797E-4DD1-B3FB-8344B68EF7B1}" vid="{312E4A0F-244B-4DFD-8614-F50ED4DFD5C0}"/>
    </a:ext>
  </a:extLst>
</a:theme>
</file>

<file path=ppt/theme/theme18.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9.xml><?xml version="1.0" encoding="utf-8"?>
<a:theme xmlns:a="http://schemas.openxmlformats.org/drawingml/2006/main" name="3_COLOR TEMPLATE">
  <a:themeElements>
    <a:clrScheme name="MSVID Mid-Blue">
      <a:dk1>
        <a:srgbClr val="505050"/>
      </a:dk1>
      <a:lt1>
        <a:srgbClr val="FFFFFF"/>
      </a:lt1>
      <a:dk2>
        <a:srgbClr val="00188F"/>
      </a:dk2>
      <a:lt2>
        <a:srgbClr val="CDF4FF"/>
      </a:lt2>
      <a:accent1>
        <a:srgbClr val="0078D7"/>
      </a:accent1>
      <a:accent2>
        <a:srgbClr val="D83B01"/>
      </a:accent2>
      <a:accent3>
        <a:srgbClr val="5C2D91"/>
      </a:accent3>
      <a:accent4>
        <a:srgbClr val="B4009E"/>
      </a:accent4>
      <a:accent5>
        <a:srgbClr val="107C10"/>
      </a:accent5>
      <a:accent6>
        <a:srgbClr val="002050"/>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 id="{2F1AC67C-B8CC-4EE6-9E96-BD9F3AAAD5F1}" vid="{4AB253A4-7F2B-4130-9CB6-B8BBA9F563B9}"/>
    </a:ext>
  </a:extLst>
</a:theme>
</file>

<file path=ppt/theme/theme2.xml><?xml version="1.0" encoding="utf-8"?>
<a:theme xmlns:a="http://schemas.openxmlformats.org/drawingml/2006/main" name="COLOR TEMPLATE">
  <a:themeElements>
    <a:clrScheme name="MSVID Mid-Blue">
      <a:dk1>
        <a:srgbClr val="505050"/>
      </a:dk1>
      <a:lt1>
        <a:srgbClr val="FFFFFF"/>
      </a:lt1>
      <a:dk2>
        <a:srgbClr val="00188F"/>
      </a:dk2>
      <a:lt2>
        <a:srgbClr val="CDF4FF"/>
      </a:lt2>
      <a:accent1>
        <a:srgbClr val="0078D7"/>
      </a:accent1>
      <a:accent2>
        <a:srgbClr val="D83B01"/>
      </a:accent2>
      <a:accent3>
        <a:srgbClr val="5C2D91"/>
      </a:accent3>
      <a:accent4>
        <a:srgbClr val="B4009E"/>
      </a:accent4>
      <a:accent5>
        <a:srgbClr val="107C10"/>
      </a:accent5>
      <a:accent6>
        <a:srgbClr val="002050"/>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 id="{2F1AC67C-B8CC-4EE6-9E96-BD9F3AAAD5F1}" vid="{4AB253A4-7F2B-4130-9CB6-B8BBA9F563B9}"/>
    </a:ext>
  </a:extLst>
</a:theme>
</file>

<file path=ppt/theme/theme20.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1.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2.xml><?xml version="1.0" encoding="utf-8"?>
<a:theme xmlns:a="http://schemas.openxmlformats.org/drawingml/2006/main" name="3_COLOR TEMPLATE">
  <a:themeElements>
    <a:clrScheme name="MSVID Mid-Blue">
      <a:dk1>
        <a:srgbClr val="505050"/>
      </a:dk1>
      <a:lt1>
        <a:srgbClr val="FFFFFF"/>
      </a:lt1>
      <a:dk2>
        <a:srgbClr val="00188F"/>
      </a:dk2>
      <a:lt2>
        <a:srgbClr val="CDF4FF"/>
      </a:lt2>
      <a:accent1>
        <a:srgbClr val="0078D7"/>
      </a:accent1>
      <a:accent2>
        <a:srgbClr val="D83B01"/>
      </a:accent2>
      <a:accent3>
        <a:srgbClr val="5C2D91"/>
      </a:accent3>
      <a:accent4>
        <a:srgbClr val="B4009E"/>
      </a:accent4>
      <a:accent5>
        <a:srgbClr val="107C10"/>
      </a:accent5>
      <a:accent6>
        <a:srgbClr val="002050"/>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 id="{2F1AC67C-B8CC-4EE6-9E96-BD9F3AAAD5F1}" vid="{4AB253A4-7F2B-4130-9CB6-B8BBA9F563B9}"/>
    </a:ext>
  </a:extLst>
</a:theme>
</file>

<file path=ppt/theme/theme23.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4.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5.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4_COLOR TEMPLATE">
  <a:themeElements>
    <a:clrScheme name="MSVID Mid-Blue">
      <a:dk1>
        <a:srgbClr val="505050"/>
      </a:dk1>
      <a:lt1>
        <a:srgbClr val="FFFFFF"/>
      </a:lt1>
      <a:dk2>
        <a:srgbClr val="00188F"/>
      </a:dk2>
      <a:lt2>
        <a:srgbClr val="CDF4FF"/>
      </a:lt2>
      <a:accent1>
        <a:srgbClr val="0078D7"/>
      </a:accent1>
      <a:accent2>
        <a:srgbClr val="D83B01"/>
      </a:accent2>
      <a:accent3>
        <a:srgbClr val="5C2D91"/>
      </a:accent3>
      <a:accent4>
        <a:srgbClr val="B4009E"/>
      </a:accent4>
      <a:accent5>
        <a:srgbClr val="107C10"/>
      </a:accent5>
      <a:accent6>
        <a:srgbClr val="002050"/>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 id="{2F1AC67C-B8CC-4EE6-9E96-BD9F3AAAD5F1}" vid="{4AB253A4-7F2B-4130-9CB6-B8BBA9F563B9}"/>
    </a:ext>
  </a:extLst>
</a:theme>
</file>

<file path=ppt/theme/theme27.xml><?xml version="1.0" encoding="utf-8"?>
<a:theme xmlns:a="http://schemas.openxmlformats.org/drawingml/2006/main" name="2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28.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1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 id="{7E7DF4D5-9AE9-4C04-96B9-B29B136EDDF0}" vid="{085114B9-94C6-41F4-83CE-72CC571F4FB6}"/>
    </a:ext>
  </a:ext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9.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1" ma:contentTypeDescription="Create a new document." ma:contentTypeScope="" ma:versionID="39dd6e28de13981fc99600d481b1de5c">
  <xsd:schema xmlns:xsd="http://www.w3.org/2001/XMLSchema" xmlns:xs="http://www.w3.org/2001/XMLSchema" xmlns:p="http://schemas.microsoft.com/office/2006/metadata/properties" xmlns:ns3="630a2e83-186a-4a0f-ab27-bee8a8096abc" targetNamespace="http://schemas.microsoft.com/office/2006/metadata/properties" ma:root="true" ma:fieldsID="e5a18a002045f9f0e2a3c9cc06ab2675" ns3:_="">
    <xsd:import namespace="630a2e83-186a-4a0f-ab27-bee8a8096abc"/>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630a2e83-186a-4a0f-ab27-bee8a8096abc"/>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terms/"/>
    <ds:schemaRef ds:uri="http://www.w3.org/XML/1998/namespace"/>
    <ds:schemaRef ds:uri="http://purl.org/dc/elements/1.1/"/>
  </ds:schemaRefs>
</ds:datastoreItem>
</file>

<file path=customXml/itemProps2.xml><?xml version="1.0" encoding="utf-8"?>
<ds:datastoreItem xmlns:ds="http://schemas.openxmlformats.org/officeDocument/2006/customXml" ds:itemID="{942678F0-6EA3-4F58-92F2-E73D80B536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ordPress-Azure-V2</Template>
  <TotalTime>5376</TotalTime>
  <Words>3172</Words>
  <Application>Microsoft Office PowerPoint</Application>
  <PresentationFormat>Custom</PresentationFormat>
  <Paragraphs>519</Paragraphs>
  <Slides>32</Slides>
  <Notes>30</Notes>
  <HiddenSlides>0</HiddenSlides>
  <MMClips>0</MMClips>
  <ScaleCrop>false</ScaleCrop>
  <HeadingPairs>
    <vt:vector size="8" baseType="variant">
      <vt:variant>
        <vt:lpstr>Fonts Used</vt:lpstr>
      </vt:variant>
      <vt:variant>
        <vt:i4>13</vt:i4>
      </vt:variant>
      <vt:variant>
        <vt:lpstr>Theme</vt:lpstr>
      </vt:variant>
      <vt:variant>
        <vt:i4>29</vt:i4>
      </vt:variant>
      <vt:variant>
        <vt:lpstr>Embedded OLE Servers</vt:lpstr>
      </vt:variant>
      <vt:variant>
        <vt:i4>1</vt:i4>
      </vt:variant>
      <vt:variant>
        <vt:lpstr>Slide Titles</vt:lpstr>
      </vt:variant>
      <vt:variant>
        <vt:i4>32</vt:i4>
      </vt:variant>
    </vt:vector>
  </HeadingPairs>
  <TitlesOfParts>
    <vt:vector size="75" baseType="lpstr">
      <vt:lpstr>MS PGothic</vt:lpstr>
      <vt:lpstr>MS PGothic</vt:lpstr>
      <vt:lpstr>Arial</vt:lpstr>
      <vt:lpstr>Arial Unicode MS</vt:lpstr>
      <vt:lpstr>Calibri</vt:lpstr>
      <vt:lpstr>Calibri Light</vt:lpstr>
      <vt:lpstr>Consolas</vt:lpstr>
      <vt:lpstr>Segoe Light</vt:lpstr>
      <vt:lpstr>Segoe UI</vt:lpstr>
      <vt:lpstr>Segoe UI Light</vt:lpstr>
      <vt:lpstr>Segoe UI Semibold</vt:lpstr>
      <vt:lpstr>Segoe UI Semilight</vt:lpstr>
      <vt:lpstr>Wingdings</vt:lpstr>
      <vt:lpstr>WHITE TEMPLATE</vt:lpstr>
      <vt:lpstr>COLOR TEMPLATE</vt:lpstr>
      <vt:lpstr>1_COLOR TEMPLATE</vt:lpstr>
      <vt:lpstr>15_Custom Design</vt:lpstr>
      <vt:lpstr>Azure Event</vt:lpstr>
      <vt:lpstr>Azure Graphite</vt:lpstr>
      <vt:lpstr>2_Office Theme</vt:lpstr>
      <vt:lpstr>Microsoft AzureCon 2015 Template - Color</vt:lpstr>
      <vt:lpstr>WPC 2015 Dark Gray Template</vt:lpstr>
      <vt:lpstr>1_Azure Event</vt:lpstr>
      <vt:lpstr>MGXFY16 Dark Gray Template</vt:lpstr>
      <vt:lpstr>BUILD CHARCOAL BACKGROUND</vt:lpstr>
      <vt:lpstr>2_Azure Event</vt:lpstr>
      <vt:lpstr>1_5-30660_TR21_BO_CT_Template</vt:lpstr>
      <vt:lpstr>1_6-30537_Envision 2016 Keynote Template</vt:lpstr>
      <vt:lpstr>6-30537_Envision 2016 Keynote Template</vt:lpstr>
      <vt:lpstr>5-30616_S4_Dark_Template_16x9</vt:lpstr>
      <vt:lpstr>2_COLOR TEMPLATE</vt:lpstr>
      <vt:lpstr>3_COLOR TEMPLATE</vt:lpstr>
      <vt:lpstr>3_Azure Event</vt:lpstr>
      <vt:lpstr>2_5-30660_TR21_BO_CT_Template</vt:lpstr>
      <vt:lpstr>3_COLOR TEMPLATE</vt:lpstr>
      <vt:lpstr>3_Azure Event</vt:lpstr>
      <vt:lpstr>2_5-30660_TR21_BO_CT_Template</vt:lpstr>
      <vt:lpstr>1_C+E Deck</vt:lpstr>
      <vt:lpstr>4_COLOR TEMPLATE</vt:lpstr>
      <vt:lpstr>2_6-30537_Envision 2016 Keynote Template</vt:lpstr>
      <vt:lpstr>LIGHT COLOR TEMPLATE</vt:lpstr>
      <vt:lpstr>4_LIGHT COLOR TEMPLATE</vt:lpstr>
      <vt:lpstr>think-cell Slide</vt:lpstr>
      <vt:lpstr>PowerPoint Presentation</vt:lpstr>
      <vt:lpstr>Goals of Presentation</vt:lpstr>
      <vt:lpstr>PowerPoint Presentation</vt:lpstr>
      <vt:lpstr>PowerPoint Presentation</vt:lpstr>
      <vt:lpstr>PowerPoint Presentation</vt:lpstr>
      <vt:lpstr>PowerPoint Presentation</vt:lpstr>
      <vt:lpstr>PowerPoint Presentation</vt:lpstr>
      <vt:lpstr>Protect your business</vt:lpstr>
      <vt:lpstr>Detect and mitigate threats</vt:lpstr>
      <vt:lpstr>PowerPoint Presentation</vt:lpstr>
      <vt:lpstr>PowerPoint Presentation</vt:lpstr>
      <vt:lpstr>PowerPoint Presentation</vt:lpstr>
      <vt:lpstr>PowerPoint Presentation</vt:lpstr>
      <vt:lpstr>Build and run open source solutions</vt:lpstr>
      <vt:lpstr>Consistent identity, apps, data &amp; management</vt:lpstr>
      <vt:lpstr>PowerPoint Presentation</vt:lpstr>
      <vt:lpstr>PowerPoint Presentation</vt:lpstr>
      <vt:lpstr>PowerPoint Presentation</vt:lpstr>
      <vt:lpstr>PowerPoint Presentation</vt:lpstr>
      <vt:lpstr>Manage applications proactively</vt:lpstr>
      <vt:lpstr>Deliver native mobile apps seamlessly</vt:lpstr>
      <vt:lpstr>PowerPoint Presentation</vt:lpstr>
      <vt:lpstr>PowerPoint Presentation</vt:lpstr>
      <vt:lpstr>Support business strategy with any data </vt:lpstr>
      <vt:lpstr>Predict and respond proactively</vt:lpstr>
      <vt:lpstr>Learn and engage with artificial intelligence</vt:lpstr>
      <vt:lpstr>PowerPoint Presentation</vt:lpstr>
      <vt:lpstr>PowerPoint Presentation</vt:lpstr>
      <vt:lpstr>Azure Portal Demo</vt:lpstr>
      <vt:lpstr>Resource Links</vt:lpstr>
      <vt:lpstr>Q&amp;A</vt:lpstr>
      <vt:lpstr>Keep in touch!</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dc:title>
  <dc:subject>&lt;Speech title here&gt;</dc:subject>
  <dc:creator>Joe Raio</dc:creator>
  <cp:keywords>Microsoft Azure</cp:keywords>
  <dc:description>Template: Maryfj_x000d_
Formatting:_x000d_
Audience Type:</dc:description>
  <cp:lastModifiedBy>Joe Raio</cp:lastModifiedBy>
  <cp:revision>430</cp:revision>
  <dcterms:created xsi:type="dcterms:W3CDTF">2015-08-09T20:18:37Z</dcterms:created>
  <dcterms:modified xsi:type="dcterms:W3CDTF">2017-04-21T16:3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fs.IsStoryboard">
    <vt:bool>true</vt:bool>
  </property>
  <property fmtid="{D5CDD505-2E9C-101B-9397-08002B2CF9AE}" pid="12" name="Tfs.LastKnownPath">
    <vt:lpwstr>https://microsoft-my.sharepoint.com/personal/joraio_microsoft_com/Documents/Presentations/Global%20Azure%20Bootcamp/Azure%20General%20Overview.pptx</vt:lpwstr>
  </property>
</Properties>
</file>